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65"/>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 id="2147475229" r:id="rId63"/>
    <p:sldId id="2147475230" r:id="rId6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BEB40FBA-24CE-4DC3-A0A5-4DE632DD737A}">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Lst>
        </p14:section>
        <p14:section name="Brackets By Segment" id="{465A8A02-1813-4727-BD76-2AADECBB9C52}">
          <p14:sldIdLst>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notesMaster" Target="notesMasters/notesMaster1.xml"/><Relationship Id="rId66" Type="http://schemas.openxmlformats.org/officeDocument/2006/relationships/presProps" Target="presProps.xml"/><Relationship Id="rId67" Type="http://schemas.openxmlformats.org/officeDocument/2006/relationships/viewProps" Target="viewProps.xml"/><Relationship Id="rId68" Type="http://schemas.openxmlformats.org/officeDocument/2006/relationships/theme" Target="theme/theme1.xml"/><Relationship Id="rId69" Type="http://schemas.openxmlformats.org/officeDocument/2006/relationships/tableStyles" Target="tableStyles.xml"/><Relationship Id="rId70" Type="http://schemas.microsoft.com/office/2015/10/relationships/revisionInfo" Target="revisionInfo.xml"/><Relationship Id="rId71"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193708802807073</c:v>
                </c:pt>
                <c:pt idx="1">
                  <c:v>0.11551032311749045</c:v>
                </c:pt>
                <c:pt idx="2">
                  <c:v>0.06569491407346192</c:v>
                </c:pt>
                <c:pt idx="3">
                  <c:v>0.2675428262952296</c:v>
                </c:pt>
                <c:pt idx="4">
                  <c:v>0.15891261200232817</c:v>
                </c:pt>
                <c:pt idx="5">
                  <c:v>0.06239172395267323</c:v>
                </c:pt>
                <c:pt idx="6">
                  <c:v>0.17758546766440794</c:v>
                </c:pt>
                <c:pt idx="7">
                  <c:v>0.101676248216621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08675606242203007</c:v>
                </c:pt>
                <c:pt idx="1">
                  <c:v>0.008997029394762095</c:v>
                </c:pt>
                <c:pt idx="2">
                  <c:v>0.05498364550965095</c:v>
                </c:pt>
                <c:pt idx="3">
                  <c:v>0.020279902063345786</c:v>
                </c:pt>
                <c:pt idx="4">
                  <c:v>0.028778085772375995</c:v>
                </c:pt>
                <c:pt idx="5">
                  <c:v>0.01058159292554990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182603192722815</c:v>
                </c:pt>
                <c:pt idx="1">
                  <c:v>0.09206397015082488</c:v>
                </c:pt>
                <c:pt idx="2">
                  <c:v>0.03875317524807164</c:v>
                </c:pt>
                <c:pt idx="3">
                  <c:v>0.17530253037154014</c:v>
                </c:pt>
                <c:pt idx="4">
                  <c:v>0.12427202378913438</c:v>
                </c:pt>
                <c:pt idx="5">
                  <c:v>0.05312455760596804</c:v>
                </c:pt>
                <c:pt idx="6">
                  <c:v>0.36037368364421235</c:v>
                </c:pt>
                <c:pt idx="7">
                  <c:v>0.10676810039806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01364017971865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987808298781083</c:v>
                </c:pt>
                <c:pt idx="1">
                  <c:v>0.09671313639448578</c:v>
                </c:pt>
                <c:pt idx="2">
                  <c:v>0.04045589464231229</c:v>
                </c:pt>
                <c:pt idx="3">
                  <c:v>0.18229049009820741</c:v>
                </c:pt>
                <c:pt idx="4">
                  <c:v>0.11075205326239003</c:v>
                </c:pt>
                <c:pt idx="5">
                  <c:v>0.051811670014563986</c:v>
                </c:pt>
                <c:pt idx="6">
                  <c:v>0.35156405573264077</c:v>
                </c:pt>
                <c:pt idx="7">
                  <c:v>0.113959595159613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264931572243390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987808298781083</c:v>
                </c:pt>
                <c:pt idx="1">
                  <c:v>0.09671313639448578</c:v>
                </c:pt>
                <c:pt idx="2">
                  <c:v>0.04045589464231229</c:v>
                </c:pt>
                <c:pt idx="3">
                  <c:v>0.18229049009820741</c:v>
                </c:pt>
                <c:pt idx="4">
                  <c:v>0.11075205326239003</c:v>
                </c:pt>
                <c:pt idx="5">
                  <c:v>0.051811670014563986</c:v>
                </c:pt>
                <c:pt idx="6">
                  <c:v>0.35156405573264077</c:v>
                </c:pt>
                <c:pt idx="7">
                  <c:v>0.113959595159613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637340142787428</c:v>
                </c:pt>
                <c:pt idx="1">
                  <c:v>0.08178379124933727</c:v>
                </c:pt>
                <c:pt idx="2">
                  <c:v>0.020481447272063334</c:v>
                </c:pt>
                <c:pt idx="3">
                  <c:v>0.11501586541818654</c:v>
                </c:pt>
                <c:pt idx="4">
                  <c:v>0.07230199940364156</c:v>
                </c:pt>
                <c:pt idx="5">
                  <c:v>0.043289684745348084</c:v>
                </c:pt>
                <c:pt idx="6">
                  <c:v>0.4893803967651918</c:v>
                </c:pt>
                <c:pt idx="7">
                  <c:v>0.123817711044728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1620219303093545</c:v>
                </c:pt>
                <c:pt idx="2">
                  <c:v>0.008318319211168853</c:v>
                </c:pt>
                <c:pt idx="3">
                  <c:v>0.012431084471381262</c:v>
                </c:pt>
                <c:pt idx="4">
                  <c:v>0.007847599972882272</c:v>
                </c:pt>
                <c:pt idx="5">
                  <c:v>0.009910882022491982</c:v>
                </c:pt>
                <c:pt idx="6">
                  <c:v>0.00057314367665330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252060661466229</c:v>
                </c:pt>
                <c:pt idx="2">
                  <c:v>0.04993714287014782</c:v>
                </c:pt>
                <c:pt idx="3">
                  <c:v>0.11115435261001685</c:v>
                </c:pt>
                <c:pt idx="4">
                  <c:v>0.44456176938249176</c:v>
                </c:pt>
                <c:pt idx="5">
                  <c:v>0.13567675574807833</c:v>
                </c:pt>
                <c:pt idx="6">
                  <c:v>0.1750366434426072</c:v>
                </c:pt>
                <c:pt idx="7">
                  <c:v>0.01464956846004308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193708802807073</c:v>
                </c:pt>
                <c:pt idx="1">
                  <c:v>0.11551032311749045</c:v>
                </c:pt>
                <c:pt idx="2">
                  <c:v>0.06569491407346192</c:v>
                </c:pt>
                <c:pt idx="3">
                  <c:v>0.2675428262952296</c:v>
                </c:pt>
                <c:pt idx="4">
                  <c:v>0.15891261200232817</c:v>
                </c:pt>
                <c:pt idx="5">
                  <c:v>0.06239172395267323</c:v>
                </c:pt>
                <c:pt idx="6">
                  <c:v>0.17758546766440794</c:v>
                </c:pt>
                <c:pt idx="7">
                  <c:v>0.101676248216621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709687698953317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9639250804634673</c:v>
                </c:pt>
                <c:pt idx="4">
                  <c:v>0.000605088974672483</c:v>
                </c:pt>
                <c:pt idx="5">
                  <c:v>0.006864588057211395</c:v>
                </c:pt>
                <c:pt idx="6">
                  <c:v>0.000767382115441679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148716145041148</c:v>
                </c:pt>
                <c:pt idx="1">
                  <c:v>0.02722983454643458</c:v>
                </c:pt>
                <c:pt idx="2">
                  <c:v>0.019944611904981403</c:v>
                </c:pt>
                <c:pt idx="3">
                  <c:v>0.05896120783776677</c:v>
                </c:pt>
                <c:pt idx="4">
                  <c:v>0.0602985218534753</c:v>
                </c:pt>
                <c:pt idx="5">
                  <c:v>0.019009406729102386</c:v>
                </c:pt>
                <c:pt idx="6">
                  <c:v>0.2128814276426981</c:v>
                </c:pt>
                <c:pt idx="7">
                  <c:v>0.062928846703852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0845994435199338</c:v>
                </c:pt>
                <c:pt idx="4">
                  <c:v>0.004225384866275691</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281566368560543</c:v>
                </c:pt>
                <c:pt idx="7">
                  <c:v>0.01334294788143367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146482512819814</c:v>
                </c:pt>
                <c:pt idx="3">
                  <c:v>0.022456383141926477</c:v>
                </c:pt>
                <c:pt idx="4">
                  <c:v>0.009606672843289091</c:v>
                </c:pt>
                <c:pt idx="5">
                  <c:v>0.003737602130832252</c:v>
                </c:pt>
                <c:pt idx="6">
                  <c:v>0.04295396231566427</c:v>
                </c:pt>
                <c:pt idx="7">
                  <c:v>0.003427816099492622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4681474547342714</c:v>
                </c:pt>
                <c:pt idx="6">
                  <c:v>0.007081716511332668</c:v>
                </c:pt>
                <c:pt idx="7">
                  <c:v>0.001782869918741312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65186878870416</c:v>
                </c:pt>
                <c:pt idx="2">
                  <c:v>0.013985867923240676</c:v>
                </c:pt>
                <c:pt idx="3">
                  <c:v>0.07134155868511204</c:v>
                </c:pt>
                <c:pt idx="4">
                  <c:v>0.0422285871954624</c:v>
                </c:pt>
                <c:pt idx="5">
                  <c:v>0.017767619177918595</c:v>
                </c:pt>
                <c:pt idx="6">
                  <c:v>0.013440142320755287</c:v>
                </c:pt>
                <c:pt idx="7">
                  <c:v>0.00657114676057676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622864526817763</c:v>
                </c:pt>
                <c:pt idx="2">
                  <c:v>0.007870807486262243</c:v>
                </c:pt>
                <c:pt idx="3">
                  <c:v>0.012023398861040051</c:v>
                </c:pt>
                <c:pt idx="4">
                  <c:v>0.0029485297405800804</c:v>
                </c:pt>
                <c:pt idx="5">
                  <c:v>0.00915129175929114</c:v>
                </c:pt>
                <c:pt idx="6">
                  <c:v>0.000522664952251695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1636441179462887</c:v>
                </c:pt>
                <c:pt idx="2">
                  <c:v>0.0048058951160129745</c:v>
                </c:pt>
                <c:pt idx="3">
                  <c:v>0.009864151077403377</c:v>
                </c:pt>
                <c:pt idx="4">
                  <c:v>0.00863793381785441</c:v>
                </c:pt>
                <c:pt idx="5">
                  <c:v>0.00479615674505409</c:v>
                </c:pt>
                <c:pt idx="7">
                  <c:v>0.000503119495934583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9403743354137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28534009367993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0338870476816676</c:v>
                </c:pt>
                <c:pt idx="3">
                  <c:v>0.0015718313699625475</c:v>
                </c:pt>
                <c:pt idx="4">
                  <c:v>0.00289521910438069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491483720624548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182603192722815</c:v>
                </c:pt>
                <c:pt idx="1">
                  <c:v>0.09206397015082488</c:v>
                </c:pt>
                <c:pt idx="2">
                  <c:v>0.03875317524807164</c:v>
                </c:pt>
                <c:pt idx="3">
                  <c:v>0.17530253037154014</c:v>
                </c:pt>
                <c:pt idx="4">
                  <c:v>0.12427202378913438</c:v>
                </c:pt>
                <c:pt idx="5">
                  <c:v>0.05312455760596804</c:v>
                </c:pt>
                <c:pt idx="6">
                  <c:v>0.36037368364421235</c:v>
                </c:pt>
                <c:pt idx="7">
                  <c:v>0.10676810039806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353098178106073</c:v>
                </c:pt>
                <c:pt idx="4">
                  <c:v>0.0006424642571946711</c:v>
                </c:pt>
                <c:pt idx="5">
                  <c:v>0.007151443288482456</c:v>
                </c:pt>
                <c:pt idx="6">
                  <c:v>0.000825786977259813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611565051667038</c:v>
                </c:pt>
                <c:pt idx="1">
                  <c:v>0.028727823632849547</c:v>
                </c:pt>
                <c:pt idx="2">
                  <c:v>0.020393618002738395</c:v>
                </c:pt>
                <c:pt idx="3">
                  <c:v>0.0615450583958569</c:v>
                </c:pt>
                <c:pt idx="4">
                  <c:v>0.04942763227337583</c:v>
                </c:pt>
                <c:pt idx="5">
                  <c:v>0.015573466733939306</c:v>
                </c:pt>
                <c:pt idx="6">
                  <c:v>0.20595087998325035</c:v>
                </c:pt>
                <c:pt idx="7">
                  <c:v>0.0673158250181851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212322276661984</c:v>
                </c:pt>
                <c:pt idx="4">
                  <c:v>0.00461697776614783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7969429786235349</c:v>
                </c:pt>
                <c:pt idx="7">
                  <c:v>0.01422022307800877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05724463005154</c:v>
                </c:pt>
                <c:pt idx="3">
                  <c:v>0.023530138735611737</c:v>
                </c:pt>
                <c:pt idx="4">
                  <c:v>0.009403634694543746</c:v>
                </c:pt>
                <c:pt idx="5">
                  <c:v>0.0038312246397154163</c:v>
                </c:pt>
                <c:pt idx="6">
                  <c:v>0.0427150903296133</c:v>
                </c:pt>
                <c:pt idx="7">
                  <c:v>0.00340840039602077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5894250048941868</c:v>
                </c:pt>
                <c:pt idx="6">
                  <c:v>0.00764925949669734</c:v>
                </c:pt>
                <c:pt idx="7">
                  <c:v>0.001951615564461122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865825258026234</c:v>
                </c:pt>
                <c:pt idx="2">
                  <c:v>0.014929459319634195</c:v>
                </c:pt>
                <c:pt idx="3">
                  <c:v>0.07302226124494846</c:v>
                </c:pt>
                <c:pt idx="4">
                  <c:v>0.03963887233615541</c:v>
                </c:pt>
                <c:pt idx="5">
                  <c:v>0.01909419925917334</c:v>
                </c:pt>
                <c:pt idx="6">
                  <c:v>0.014280799101590988</c:v>
                </c:pt>
                <c:pt idx="7">
                  <c:v>0.00710384812872705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949699653647371</c:v>
                </c:pt>
                <c:pt idx="2">
                  <c:v>0.008318319211168853</c:v>
                </c:pt>
                <c:pt idx="3">
                  <c:v>0.012291221443111322</c:v>
                </c:pt>
                <c:pt idx="4">
                  <c:v>0.003230622206734439</c:v>
                </c:pt>
                <c:pt idx="5">
                  <c:v>0.009909763407909493</c:v>
                </c:pt>
                <c:pt idx="6">
                  <c:v>0.00057314367665330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2639797677416814</c:v>
                </c:pt>
                <c:pt idx="2">
                  <c:v>0.005114394105184465</c:v>
                </c:pt>
                <c:pt idx="3">
                  <c:v>0.010556655190431979</c:v>
                </c:pt>
                <c:pt idx="4">
                  <c:v>0.008694022988901186</c:v>
                </c:pt>
                <c:pt idx="5">
                  <c:v>0.0051234513700321805</c:v>
                </c:pt>
                <c:pt idx="7">
                  <c:v>0.000543619063665613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86776331799873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0082622761110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3762432471140455</c:v>
                </c:pt>
                <c:pt idx="3">
                  <c:v>0.0016938533483580945</c:v>
                </c:pt>
                <c:pt idx="4">
                  <c:v>0.00294542671221918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590679188805721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4246296978898032</c:v>
                </c:pt>
                <c:pt idx="5">
                  <c:v>0.009735973252941928</c:v>
                </c:pt>
                <c:pt idx="6">
                  <c:v>0.00109091392393683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352576587490414</c:v>
                </c:pt>
                <c:pt idx="1">
                  <c:v>0.014016363089530186</c:v>
                </c:pt>
                <c:pt idx="2">
                  <c:v>0.009361326855851042</c:v>
                </c:pt>
                <c:pt idx="3">
                  <c:v>0.042963320054288226</c:v>
                </c:pt>
                <c:pt idx="4">
                  <c:v>0.03035401401086985</c:v>
                </c:pt>
                <c:pt idx="5">
                  <c:v>0.011043949692322705</c:v>
                </c:pt>
                <c:pt idx="6">
                  <c:v>0.2663830079921445</c:v>
                </c:pt>
                <c:pt idx="7">
                  <c:v>0.0674226892449390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220310510487098</c:v>
                </c:pt>
                <c:pt idx="4">
                  <c:v>0.000708255169850350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637340142787428</c:v>
                </c:pt>
                <c:pt idx="1">
                  <c:v>0.08178379124933727</c:v>
                </c:pt>
                <c:pt idx="2">
                  <c:v>0.020481447272063334</c:v>
                </c:pt>
                <c:pt idx="3">
                  <c:v>0.11501586541818654</c:v>
                </c:pt>
                <c:pt idx="4">
                  <c:v>0.07230199940364156</c:v>
                </c:pt>
                <c:pt idx="5">
                  <c:v>0.043289684745348084</c:v>
                </c:pt>
                <c:pt idx="6">
                  <c:v>0.4893803967651918</c:v>
                </c:pt>
                <c:pt idx="7">
                  <c:v>0.123817711044728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2244857143547376</c:v>
                </c:pt>
                <c:pt idx="7">
                  <c:v>0.01852434883700580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1984860685089886</c:v>
                </c:pt>
                <c:pt idx="3">
                  <c:v>0.01086008205095598</c:v>
                </c:pt>
                <c:pt idx="4">
                  <c:v>0.004318176584964284</c:v>
                </c:pt>
                <c:pt idx="5">
                  <c:v>0.005998915008858786</c:v>
                </c:pt>
                <c:pt idx="6">
                  <c:v>0.06789403406682377</c:v>
                </c:pt>
                <c:pt idx="7">
                  <c:v>0.005350325857023969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2309523024157426</c:v>
                </c:pt>
                <c:pt idx="6">
                  <c:v>0.013089433899956496</c:v>
                </c:pt>
                <c:pt idx="7">
                  <c:v>0.003362344100390170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4240790304453787</c:v>
                </c:pt>
                <c:pt idx="2">
                  <c:v>0.010858566641147626</c:v>
                </c:pt>
                <c:pt idx="3">
                  <c:v>0.032525433386112454</c:v>
                </c:pt>
                <c:pt idx="4">
                  <c:v>0.03249132177078148</c:v>
                </c:pt>
                <c:pt idx="5">
                  <c:v>0.011831319440183055</c:v>
                </c:pt>
                <c:pt idx="6">
                  <c:v>0.017679504505542065</c:v>
                </c:pt>
                <c:pt idx="7">
                  <c:v>0.003238158332626702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5522993226537128</c:v>
                </c:pt>
                <c:pt idx="2">
                  <c:v>0.006729009088670806</c:v>
                </c:pt>
                <c:pt idx="3">
                  <c:v>0.004102223480188536</c:v>
                </c:pt>
                <c:pt idx="4">
                  <c:v>0.0019212484707453808</c:v>
                </c:pt>
                <c:pt idx="5">
                  <c:v>0.00215357415149749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72609833140811</c:v>
                </c:pt>
                <c:pt idx="2">
                  <c:v>0.006729009088670806</c:v>
                </c:pt>
                <c:pt idx="3">
                  <c:v>0.004351862501788534</c:v>
                </c:pt>
                <c:pt idx="4">
                  <c:v>0.002629503640595731</c:v>
                </c:pt>
                <c:pt idx="5">
                  <c:v>0.00215557820169110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531322091813889</c:v>
                </c:pt>
                <c:pt idx="3">
                  <c:v>0.009540411875393938</c:v>
                </c:pt>
                <c:pt idx="4">
                  <c:v>0.002779116005397273</c:v>
                </c:pt>
                <c:pt idx="5">
                  <c:v>0.004260092281942123</c:v>
                </c:pt>
                <c:pt idx="7">
                  <c:v>0.000855399348163143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07915796466367601</c:v>
                </c:pt>
                <c:pt idx="7">
                  <c:v>0.001560517514006283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020824840383864</c:v>
                </c:pt>
                <c:pt idx="3">
                  <c:v>0.00264936877012217</c:v>
                </c:pt>
                <c:pt idx="4">
                  <c:v>0.002343928650132002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2350392781057382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52582573016724</c:v>
                </c:pt>
                <c:pt idx="2">
                  <c:v>0.04789274601489564</c:v>
                </c:pt>
                <c:pt idx="3">
                  <c:v>0.04021679137248125</c:v>
                </c:pt>
                <c:pt idx="4">
                  <c:v>0.24944023448036315</c:v>
                </c:pt>
                <c:pt idx="5">
                  <c:v>0.11643989992771371</c:v>
                </c:pt>
                <c:pt idx="6">
                  <c:v>0.1627808568707171</c:v>
                </c:pt>
                <c:pt idx="7">
                  <c:v>0.00856833047554897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3302842975520524</c:v>
                </c:pt>
                <c:pt idx="4">
                  <c:v>0.002151794298541662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40771169362354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67691168430033</c:v>
                </c:pt>
                <c:pt idx="3">
                  <c:v>0.000989335673239924</c:v>
                </c:pt>
                <c:pt idx="4">
                  <c:v>0.046282176756650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9225664041491749</c:v>
                </c:pt>
                <c:pt idx="2">
                  <c:v>0.001900036170611335</c:v>
                </c:pt>
                <c:pt idx="3">
                  <c:v>0.056523466674891186</c:v>
                </c:pt>
                <c:pt idx="4">
                  <c:v>0.1268658098571626</c:v>
                </c:pt>
                <c:pt idx="5">
                  <c:v>0.01487354529829532</c:v>
                </c:pt>
                <c:pt idx="6">
                  <c:v>0.00084807487826654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8946791688748476</c:v>
                </c:pt>
                <c:pt idx="2">
                  <c:v>0.001900036170611335</c:v>
                </c:pt>
                <c:pt idx="3">
                  <c:v>0.004714186641139271</c:v>
                </c:pt>
                <c:pt idx="5">
                  <c:v>0.007559806877658498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151322565964671</c:v>
                </c:pt>
                <c:pt idx="4">
                  <c:v>0.007732419721294021</c:v>
                </c:pt>
                <c:pt idx="5">
                  <c:v>0.00436331052206929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5671138277131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9115332297577794</c:v>
                </c:pt>
                <c:pt idx="4">
                  <c:v>0.0142411285670214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18483362892154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447352735852206</c:v>
                </c:pt>
                <c:pt idx="4">
                  <c:v>0.0014380403420953221</c:v>
                </c:pt>
                <c:pt idx="5">
                  <c:v>0.00389540007570445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84688589620171</c:v>
                </c:pt>
                <c:pt idx="2">
                  <c:v>0.007870807486262243</c:v>
                </c:pt>
                <c:pt idx="3">
                  <c:v>0.012150934253432541</c:v>
                </c:pt>
                <c:pt idx="4">
                  <c:v>0.007173914606855771</c:v>
                </c:pt>
                <c:pt idx="5">
                  <c:v>0.009152311715731214</c:v>
                </c:pt>
                <c:pt idx="6">
                  <c:v>0.00052266495225169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153732072383319</c:v>
                </c:pt>
                <c:pt idx="1">
                  <c:v>0.04731533599386516</c:v>
                </c:pt>
                <c:pt idx="2">
                  <c:v>0.03431615608747432</c:v>
                </c:pt>
                <c:pt idx="3">
                  <c:v>0.08509149036707536</c:v>
                </c:pt>
                <c:pt idx="4">
                  <c:v>0.07365207602784166</c:v>
                </c:pt>
                <c:pt idx="5">
                  <c:v>0.021024154316017365</c:v>
                </c:pt>
                <c:pt idx="6">
                  <c:v>0.12962353680066446</c:v>
                </c:pt>
                <c:pt idx="7">
                  <c:v>0.067292760337130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462775180649898</c:v>
                </c:pt>
                <c:pt idx="4">
                  <c:v>0.00957753672111166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2574059959239454</c:v>
                </c:pt>
                <c:pt idx="7">
                  <c:v>0.008793296329870049</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48628470823932</c:v>
                </c:pt>
                <c:pt idx="3">
                  <c:v>0.03962993798759843</c:v>
                </c:pt>
                <c:pt idx="4">
                  <c:v>0.015840049271023254</c:v>
                </c:pt>
                <c:pt idx="5">
                  <c:v>0.001095252013176561</c:v>
                </c:pt>
                <c:pt idx="6">
                  <c:v>0.010930923141873456</c:v>
                </c:pt>
                <c:pt idx="7">
                  <c:v>0.000957321744482012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7807522364339838</c:v>
                </c:pt>
                <c:pt idx="6">
                  <c:v>0.000778241227382684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6780303820230735</c:v>
                </c:pt>
                <c:pt idx="2">
                  <c:v>0.02010956718329598</c:v>
                </c:pt>
                <c:pt idx="3">
                  <c:v>0.12423725080710733</c:v>
                </c:pt>
                <c:pt idx="4">
                  <c:v>0.04806500331330595</c:v>
                </c:pt>
                <c:pt idx="5">
                  <c:v>0.028324745508974066</c:v>
                </c:pt>
                <c:pt idx="6">
                  <c:v>0.010010588737163078</c:v>
                </c:pt>
                <c:pt idx="7">
                  <c:v>0.01201566262430411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70359879101029</c:v>
                </c:pt>
                <c:pt idx="2">
                  <c:v>0.010340432622765534</c:v>
                </c:pt>
                <c:pt idx="3">
                  <c:v>0.022634088347270667</c:v>
                </c:pt>
                <c:pt idx="4">
                  <c:v>0.0048963149329820845</c:v>
                </c:pt>
                <c:pt idx="5">
                  <c:v>0.019754864490616</c:v>
                </c:pt>
                <c:pt idx="6">
                  <c:v>0.0011045014339659607</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9283985951552341</c:v>
                </c:pt>
                <c:pt idx="2">
                  <c:v>0.011227394396881347</c:v>
                </c:pt>
                <c:pt idx="3">
                  <c:v>0.011868155597076139</c:v>
                </c:pt>
                <c:pt idx="4">
                  <c:v>0.01620336191986629</c:v>
                </c:pt>
                <c:pt idx="5">
                  <c:v>0.00622869332841718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82347871038359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596608996966117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0399767304237542</c:v>
                </c:pt>
                <c:pt idx="4">
                  <c:v>0.003714081128195697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3237843346225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9639250804634673</c:v>
                </c:pt>
                <c:pt idx="4">
                  <c:v>0.000605088974672483</c:v>
                </c:pt>
                <c:pt idx="5">
                  <c:v>0.006864588057211395</c:v>
                </c:pt>
                <c:pt idx="6">
                  <c:v>0.000767382115441679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148716145041148</c:v>
                </c:pt>
                <c:pt idx="1">
                  <c:v>0.02722983454643458</c:v>
                </c:pt>
                <c:pt idx="2">
                  <c:v>0.019944611904981403</c:v>
                </c:pt>
                <c:pt idx="3">
                  <c:v>0.05896120783776677</c:v>
                </c:pt>
                <c:pt idx="4">
                  <c:v>0.0602985218534753</c:v>
                </c:pt>
                <c:pt idx="5">
                  <c:v>0.019009406729102386</c:v>
                </c:pt>
                <c:pt idx="6">
                  <c:v>0.2128814276426981</c:v>
                </c:pt>
                <c:pt idx="7">
                  <c:v>0.062928846703852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9937165073653288</c:v>
                </c:pt>
                <c:pt idx="3">
                  <c:v>0.00346682582643082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281566368560543</c:v>
                </c:pt>
                <c:pt idx="7">
                  <c:v>0.01334294788143367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146482512819814</c:v>
                </c:pt>
                <c:pt idx="3">
                  <c:v>0.022456383141926477</c:v>
                </c:pt>
                <c:pt idx="4">
                  <c:v>0.009606672843289091</c:v>
                </c:pt>
                <c:pt idx="5">
                  <c:v>0.003737602130832252</c:v>
                </c:pt>
                <c:pt idx="6">
                  <c:v>0.04295396231566427</c:v>
                </c:pt>
                <c:pt idx="7">
                  <c:v>0.003427816099492622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4681474547342714</c:v>
                </c:pt>
                <c:pt idx="6">
                  <c:v>0.007081716511332668</c:v>
                </c:pt>
                <c:pt idx="7">
                  <c:v>0.001782869918741312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65186878870416</c:v>
                </c:pt>
                <c:pt idx="2">
                  <c:v>0.013985867923240676</c:v>
                </c:pt>
                <c:pt idx="3">
                  <c:v>0.07134155868511204</c:v>
                </c:pt>
                <c:pt idx="4">
                  <c:v>0.0422285871954624</c:v>
                </c:pt>
                <c:pt idx="5">
                  <c:v>0.017767619177918595</c:v>
                </c:pt>
                <c:pt idx="6">
                  <c:v>0.013440142320755287</c:v>
                </c:pt>
                <c:pt idx="7">
                  <c:v>0.00657114676057676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651837841792792</c:v>
                </c:pt>
                <c:pt idx="2">
                  <c:v>0.006044942649956046</c:v>
                </c:pt>
                <c:pt idx="3">
                  <c:v>0.0017277203776199963</c:v>
                </c:pt>
                <c:pt idx="4">
                  <c:v>0.007952525290941736</c:v>
                </c:pt>
                <c:pt idx="5">
                  <c:v>0.003889562680036143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1636441179462887</c:v>
                </c:pt>
                <c:pt idx="2">
                  <c:v>0.0048058951160129745</c:v>
                </c:pt>
                <c:pt idx="3">
                  <c:v>0.009864151077403377</c:v>
                </c:pt>
                <c:pt idx="4">
                  <c:v>0.00863793381785441</c:v>
                </c:pt>
                <c:pt idx="5">
                  <c:v>0.00479615674505409</c:v>
                </c:pt>
                <c:pt idx="7">
                  <c:v>0.000503119495934583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252060661466229</c:v>
                </c:pt>
                <c:pt idx="2">
                  <c:v>0.04993714287014782</c:v>
                </c:pt>
                <c:pt idx="3">
                  <c:v>0.11115435261001685</c:v>
                </c:pt>
                <c:pt idx="4">
                  <c:v>0.44456176938249176</c:v>
                </c:pt>
                <c:pt idx="5">
                  <c:v>0.13567675574807833</c:v>
                </c:pt>
                <c:pt idx="6">
                  <c:v>0.1750366434426072</c:v>
                </c:pt>
                <c:pt idx="7">
                  <c:v>0.01464956846004308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744770112036312</c:v>
                </c:pt>
                <c:pt idx="3">
                  <c:v>0.007837837534944606</c:v>
                </c:pt>
                <c:pt idx="4">
                  <c:v>0.008507269597207124</c:v>
                </c:pt>
                <c:pt idx="5">
                  <c:v>0.002602572302705014</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9403743354137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9403743354137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28534009367993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0338870476816676</c:v>
                </c:pt>
                <c:pt idx="3">
                  <c:v>0.0015718313699625475</c:v>
                </c:pt>
                <c:pt idx="4">
                  <c:v>0.00289521910438069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2249634664269</c:v>
                </c:pt>
                <c:pt idx="2">
                  <c:v>0.001900036170611335</c:v>
                </c:pt>
                <c:pt idx="3">
                  <c:v>0.004714186641139271</c:v>
                </c:pt>
                <c:pt idx="4">
                  <c:v>0.0021517942985416626</c:v>
                </c:pt>
                <c:pt idx="5">
                  <c:v>0.007559806877658498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491483720624548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353098178106073</c:v>
                </c:pt>
                <c:pt idx="4">
                  <c:v>0.0006424642571946711</c:v>
                </c:pt>
                <c:pt idx="5">
                  <c:v>0.007151443288482456</c:v>
                </c:pt>
                <c:pt idx="6">
                  <c:v>0.000825786977259813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611565051667038</c:v>
                </c:pt>
                <c:pt idx="1">
                  <c:v>0.028727823632849547</c:v>
                </c:pt>
                <c:pt idx="2">
                  <c:v>0.020393618002738395</c:v>
                </c:pt>
                <c:pt idx="3">
                  <c:v>0.0615450583958569</c:v>
                </c:pt>
                <c:pt idx="4">
                  <c:v>0.04942763227337583</c:v>
                </c:pt>
                <c:pt idx="5">
                  <c:v>0.015573466733939306</c:v>
                </c:pt>
                <c:pt idx="6">
                  <c:v>0.20595087998325035</c:v>
                </c:pt>
                <c:pt idx="7">
                  <c:v>0.0673158250181851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20392201698828032</c:v>
                </c:pt>
                <c:pt idx="3">
                  <c:v>0.003746558844793595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7969429786235349</c:v>
                </c:pt>
                <c:pt idx="7">
                  <c:v>0.01422022307800877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05724463005154</c:v>
                </c:pt>
                <c:pt idx="3">
                  <c:v>0.023530138735611737</c:v>
                </c:pt>
                <c:pt idx="4">
                  <c:v>0.009403634694543746</c:v>
                </c:pt>
                <c:pt idx="5">
                  <c:v>0.0038312246397154163</c:v>
                </c:pt>
                <c:pt idx="6">
                  <c:v>0.0427150903296133</c:v>
                </c:pt>
                <c:pt idx="7">
                  <c:v>0.00340840039602077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5894250048941868</c:v>
                </c:pt>
                <c:pt idx="6">
                  <c:v>0.00764925949669734</c:v>
                </c:pt>
                <c:pt idx="7">
                  <c:v>0.001951615564461122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865825258026234</c:v>
                </c:pt>
                <c:pt idx="2">
                  <c:v>0.014929459319634195</c:v>
                </c:pt>
                <c:pt idx="3">
                  <c:v>0.07302226124494846</c:v>
                </c:pt>
                <c:pt idx="4">
                  <c:v>0.03963887233615541</c:v>
                </c:pt>
                <c:pt idx="5">
                  <c:v>0.01909419925917334</c:v>
                </c:pt>
                <c:pt idx="6">
                  <c:v>0.014280799101590988</c:v>
                </c:pt>
                <c:pt idx="7">
                  <c:v>0.00710384812872705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720733628347319</c:v>
                </c:pt>
                <c:pt idx="2">
                  <c:v>0.006534240250360866</c:v>
                </c:pt>
                <c:pt idx="3">
                  <c:v>0.0017922257254141412</c:v>
                </c:pt>
                <c:pt idx="4">
                  <c:v>0.00838904483170007</c:v>
                </c:pt>
                <c:pt idx="5">
                  <c:v>0.00421253892261813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2639797677416814</c:v>
                </c:pt>
                <c:pt idx="2">
                  <c:v>0.005114394105184465</c:v>
                </c:pt>
                <c:pt idx="3">
                  <c:v>0.010556655190431979</c:v>
                </c:pt>
                <c:pt idx="4">
                  <c:v>0.008694022988901186</c:v>
                </c:pt>
                <c:pt idx="5">
                  <c:v>0.0051234513700321805</c:v>
                </c:pt>
                <c:pt idx="7">
                  <c:v>0.000543619063665613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5047359832318885</c:v>
                </c:pt>
                <c:pt idx="3">
                  <c:v>0.008437137481278178</c:v>
                </c:pt>
                <c:pt idx="4">
                  <c:v>0.008551305629535242</c:v>
                </c:pt>
                <c:pt idx="5">
                  <c:v>0.002823076130274336</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86776331799873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867763317998733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0082622761110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3762432471140455</c:v>
                </c:pt>
                <c:pt idx="3">
                  <c:v>0.0016938533483580945</c:v>
                </c:pt>
                <c:pt idx="4">
                  <c:v>0.00294542671221918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590679188805721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4246296978898032</c:v>
                </c:pt>
                <c:pt idx="5">
                  <c:v>0.009735973252941928</c:v>
                </c:pt>
                <c:pt idx="6">
                  <c:v>0.00109091392393683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352576587490414</c:v>
                </c:pt>
                <c:pt idx="1">
                  <c:v>0.014016363089530186</c:v>
                </c:pt>
                <c:pt idx="2">
                  <c:v>0.009361326855851042</c:v>
                </c:pt>
                <c:pt idx="3">
                  <c:v>0.042963320054288226</c:v>
                </c:pt>
                <c:pt idx="4">
                  <c:v>0.03035401401086985</c:v>
                </c:pt>
                <c:pt idx="5">
                  <c:v>0.011043949692322705</c:v>
                </c:pt>
                <c:pt idx="6">
                  <c:v>0.2663830079921445</c:v>
                </c:pt>
                <c:pt idx="7">
                  <c:v>0.0674226892449390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9360762300833662</c:v>
                </c:pt>
                <c:pt idx="3">
                  <c:v>0.00196473986739489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2244857143547376</c:v>
                </c:pt>
                <c:pt idx="7">
                  <c:v>0.01852434883700580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1984860685089886</c:v>
                </c:pt>
                <c:pt idx="3">
                  <c:v>0.01086008205095598</c:v>
                </c:pt>
                <c:pt idx="4">
                  <c:v>0.004318176584964284</c:v>
                </c:pt>
                <c:pt idx="5">
                  <c:v>0.005998915008858786</c:v>
                </c:pt>
                <c:pt idx="6">
                  <c:v>0.06789403406682377</c:v>
                </c:pt>
                <c:pt idx="7">
                  <c:v>0.005350325857023969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2309523024157426</c:v>
                </c:pt>
                <c:pt idx="6">
                  <c:v>0.013089433899956496</c:v>
                </c:pt>
                <c:pt idx="7">
                  <c:v>0.003362344100390170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4240790304453787</c:v>
                </c:pt>
                <c:pt idx="2">
                  <c:v>0.010858566641147626</c:v>
                </c:pt>
                <c:pt idx="3">
                  <c:v>0.032525433386112454</c:v>
                </c:pt>
                <c:pt idx="4">
                  <c:v>0.03249132177078148</c:v>
                </c:pt>
                <c:pt idx="5">
                  <c:v>0.011831319440183055</c:v>
                </c:pt>
                <c:pt idx="6">
                  <c:v>0.017679504505542065</c:v>
                </c:pt>
                <c:pt idx="7">
                  <c:v>0.003238158332626702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14407896264112</c:v>
                </c:pt>
                <c:pt idx="2">
                  <c:v>0.004129557552476821</c:v>
                </c:pt>
                <c:pt idx="4">
                  <c:v>0.005809607459486297</c:v>
                </c:pt>
                <c:pt idx="5">
                  <c:v>0.003681819298348576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531322091813889</c:v>
                </c:pt>
                <c:pt idx="3">
                  <c:v>0.009540411875393938</c:v>
                </c:pt>
                <c:pt idx="4">
                  <c:v>0.002779116005397273</c:v>
                </c:pt>
                <c:pt idx="5">
                  <c:v>0.004260092281942123</c:v>
                </c:pt>
                <c:pt idx="7">
                  <c:v>0.000855399348163143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68490983491336956</c:v>
                </c:pt>
                <c:pt idx="4">
                  <c:v>0.002575313566012603</c:v>
                </c:pt>
                <c:pt idx="5">
                  <c:v>0.0019985362928608462</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07915796466367601</c:v>
                </c:pt>
                <c:pt idx="7">
                  <c:v>0.001560517514006283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020824840383864</c:v>
                </c:pt>
                <c:pt idx="3">
                  <c:v>0.00264936877012217</c:v>
                </c:pt>
                <c:pt idx="4">
                  <c:v>0.002343928650132002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2350392781057382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52582573016724</c:v>
                </c:pt>
                <c:pt idx="2">
                  <c:v>0.04789274601489564</c:v>
                </c:pt>
                <c:pt idx="3">
                  <c:v>0.04021679137248125</c:v>
                </c:pt>
                <c:pt idx="4">
                  <c:v>0.24944023448036315</c:v>
                </c:pt>
                <c:pt idx="5">
                  <c:v>0.11643989992771371</c:v>
                </c:pt>
                <c:pt idx="6">
                  <c:v>0.1627808568707171</c:v>
                </c:pt>
                <c:pt idx="7">
                  <c:v>0.00856833047554897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4690501914515402</c:v>
                </c:pt>
                <c:pt idx="3">
                  <c:v>0.001477313241653507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40771169362354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67691168430033</c:v>
                </c:pt>
                <c:pt idx="3">
                  <c:v>0.000989335673239924</c:v>
                </c:pt>
                <c:pt idx="4">
                  <c:v>0.046282176756650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9225664041491749</c:v>
                </c:pt>
                <c:pt idx="2">
                  <c:v>0.001900036170611335</c:v>
                </c:pt>
                <c:pt idx="3">
                  <c:v>0.056523466674891186</c:v>
                </c:pt>
                <c:pt idx="4">
                  <c:v>0.1268658098571626</c:v>
                </c:pt>
                <c:pt idx="5">
                  <c:v>0.01487354529829532</c:v>
                </c:pt>
                <c:pt idx="6">
                  <c:v>0.00084807487826654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933502736417794</c:v>
                </c:pt>
                <c:pt idx="4">
                  <c:v>0.0007628475319659446</c:v>
                </c:pt>
                <c:pt idx="5">
                  <c:v>0.00711177472293460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151322565964671</c:v>
                </c:pt>
                <c:pt idx="4">
                  <c:v>0.007732419721294021</c:v>
                </c:pt>
                <c:pt idx="5">
                  <c:v>0.00436331052206929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8152199717023237</c:v>
                </c:pt>
                <c:pt idx="4">
                  <c:v>0.007652528893914634</c:v>
                </c:pt>
                <c:pt idx="5">
                  <c:v>0.004363310522069292</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5671138277131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9115332297577794</c:v>
                </c:pt>
                <c:pt idx="4">
                  <c:v>0.0142411285670214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18483362892154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193708802807073</c:v>
                </c:pt>
                <c:pt idx="1">
                  <c:v>0.11551032311749045</c:v>
                </c:pt>
                <c:pt idx="2">
                  <c:v>0.06569491407346192</c:v>
                </c:pt>
                <c:pt idx="3">
                  <c:v>0.2675428262952296</c:v>
                </c:pt>
                <c:pt idx="4">
                  <c:v>0.15891261200232817</c:v>
                </c:pt>
                <c:pt idx="5">
                  <c:v>0.06239172395267323</c:v>
                </c:pt>
                <c:pt idx="6">
                  <c:v>0.17758546766440794</c:v>
                </c:pt>
                <c:pt idx="7">
                  <c:v>0.101676248216621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447352735852206</c:v>
                </c:pt>
                <c:pt idx="4">
                  <c:v>0.0014380403420953221</c:v>
                </c:pt>
                <c:pt idx="5">
                  <c:v>0.00389540007570445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153732072383319</c:v>
                </c:pt>
                <c:pt idx="1">
                  <c:v>0.04731533599386516</c:v>
                </c:pt>
                <c:pt idx="2">
                  <c:v>0.03431615608747432</c:v>
                </c:pt>
                <c:pt idx="3">
                  <c:v>0.08509149036707536</c:v>
                </c:pt>
                <c:pt idx="4">
                  <c:v>0.07365207602784166</c:v>
                </c:pt>
                <c:pt idx="5">
                  <c:v>0.021024154316017365</c:v>
                </c:pt>
                <c:pt idx="6">
                  <c:v>0.12962353680066446</c:v>
                </c:pt>
                <c:pt idx="7">
                  <c:v>0.067292760337130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3431365785554686</c:v>
                </c:pt>
                <c:pt idx="3">
                  <c:v>0.00601161972936986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8166373971660187</c:v>
                </c:pt>
                <c:pt idx="2">
                  <c:v>0.010340432622765534</c:v>
                </c:pt>
                <c:pt idx="3">
                  <c:v>0.022635266276401587</c:v>
                </c:pt>
                <c:pt idx="4">
                  <c:v>0.014473851654093749</c:v>
                </c:pt>
                <c:pt idx="5">
                  <c:v>0.019754864490616</c:v>
                </c:pt>
                <c:pt idx="6">
                  <c:v>0.001104501433965960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2574059959239454</c:v>
                </c:pt>
                <c:pt idx="7">
                  <c:v>0.008793296329870049</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48628470823932</c:v>
                </c:pt>
                <c:pt idx="3">
                  <c:v>0.03962993798759843</c:v>
                </c:pt>
                <c:pt idx="4">
                  <c:v>0.015840049271023254</c:v>
                </c:pt>
                <c:pt idx="5">
                  <c:v>0.001095252013176561</c:v>
                </c:pt>
                <c:pt idx="6">
                  <c:v>0.010930923141873456</c:v>
                </c:pt>
                <c:pt idx="7">
                  <c:v>0.000957321744482012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7807522364339838</c:v>
                </c:pt>
                <c:pt idx="6">
                  <c:v>0.000778241227382684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6780303820230735</c:v>
                </c:pt>
                <c:pt idx="2">
                  <c:v>0.02010956718329598</c:v>
                </c:pt>
                <c:pt idx="3">
                  <c:v>0.12423725080710733</c:v>
                </c:pt>
                <c:pt idx="4">
                  <c:v>0.04806500331330595</c:v>
                </c:pt>
                <c:pt idx="5">
                  <c:v>0.028324745508974066</c:v>
                </c:pt>
                <c:pt idx="6">
                  <c:v>0.010010588737163078</c:v>
                </c:pt>
                <c:pt idx="7">
                  <c:v>0.01201566262430411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8997029394762095</c:v>
                </c:pt>
                <c:pt idx="2">
                  <c:v>0.0095946732779156</c:v>
                </c:pt>
                <c:pt idx="3">
                  <c:v>0.003800495858880926</c:v>
                </c:pt>
                <c:pt idx="4">
                  <c:v>0.01167515349090417</c:v>
                </c:pt>
                <c:pt idx="5">
                  <c:v>0.00488311859779583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9283985951552341</c:v>
                </c:pt>
                <c:pt idx="2">
                  <c:v>0.011227394396881347</c:v>
                </c:pt>
                <c:pt idx="3">
                  <c:v>0.011868155597076139</c:v>
                </c:pt>
                <c:pt idx="4">
                  <c:v>0.01620336191986629</c:v>
                </c:pt>
                <c:pt idx="5">
                  <c:v>0.00622869332841718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1075314376188491</c:v>
                </c:pt>
                <c:pt idx="3">
                  <c:v>0.01046778647509499</c:v>
                </c:pt>
                <c:pt idx="4">
                  <c:v>0.016137648563535657</c:v>
                </c:pt>
                <c:pt idx="5">
                  <c:v>0.003873853585873186</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82347871038359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823478710383595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596608996966117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0399767304237542</c:v>
                </c:pt>
                <c:pt idx="4">
                  <c:v>0.003714081128195697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08675606242203007</c:v>
                </c:pt>
                <c:pt idx="4">
                  <c:v>0.000965141344270551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3237843346225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9639250804634673</c:v>
                </c:pt>
                <c:pt idx="4">
                  <c:v>0.000605088974672483</c:v>
                </c:pt>
                <c:pt idx="5">
                  <c:v>0.006864588057211395</c:v>
                </c:pt>
                <c:pt idx="6">
                  <c:v>0.000767382115441679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148716145041148</c:v>
                </c:pt>
                <c:pt idx="1">
                  <c:v>0.02722983454643458</c:v>
                </c:pt>
                <c:pt idx="2">
                  <c:v>0.019944611904981403</c:v>
                </c:pt>
                <c:pt idx="3">
                  <c:v>0.05896120783776677</c:v>
                </c:pt>
                <c:pt idx="4">
                  <c:v>0.0602985218534753</c:v>
                </c:pt>
                <c:pt idx="5">
                  <c:v>0.019009406729102386</c:v>
                </c:pt>
                <c:pt idx="6">
                  <c:v>0.2128814276426981</c:v>
                </c:pt>
                <c:pt idx="7">
                  <c:v>0.062928846703852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281566368560543</c:v>
                </c:pt>
                <c:pt idx="7">
                  <c:v>0.01334294788143367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146482512819814</c:v>
                </c:pt>
                <c:pt idx="3">
                  <c:v>0.022456383141926477</c:v>
                </c:pt>
                <c:pt idx="4">
                  <c:v>0.009606672843289091</c:v>
                </c:pt>
                <c:pt idx="5">
                  <c:v>0.003737602130832252</c:v>
                </c:pt>
                <c:pt idx="6">
                  <c:v>0.04295396231566427</c:v>
                </c:pt>
                <c:pt idx="7">
                  <c:v>0.003427816099492622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4681474547342714</c:v>
                </c:pt>
                <c:pt idx="6">
                  <c:v>0.007081716511332668</c:v>
                </c:pt>
                <c:pt idx="7">
                  <c:v>0.001782869918741312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65186878870416</c:v>
                </c:pt>
                <c:pt idx="2">
                  <c:v>0.013985867923240676</c:v>
                </c:pt>
                <c:pt idx="3">
                  <c:v>0.07134155868511204</c:v>
                </c:pt>
                <c:pt idx="4">
                  <c:v>0.0422285871954624</c:v>
                </c:pt>
                <c:pt idx="5">
                  <c:v>0.017767619177918595</c:v>
                </c:pt>
                <c:pt idx="6">
                  <c:v>0.013440142320755287</c:v>
                </c:pt>
                <c:pt idx="7">
                  <c:v>0.00657114676057676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01364017971865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1636441179462887</c:v>
                </c:pt>
                <c:pt idx="2">
                  <c:v>0.0048058951160129745</c:v>
                </c:pt>
                <c:pt idx="3">
                  <c:v>0.009864151077403377</c:v>
                </c:pt>
                <c:pt idx="4">
                  <c:v>0.00863793381785441</c:v>
                </c:pt>
                <c:pt idx="5">
                  <c:v>0.00479615674505409</c:v>
                </c:pt>
                <c:pt idx="7">
                  <c:v>0.000503119495934583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9403743354137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28534009367993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0338870476816676</c:v>
                </c:pt>
                <c:pt idx="3">
                  <c:v>0.0015718313699625475</c:v>
                </c:pt>
                <c:pt idx="4">
                  <c:v>0.00289521910438069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491483720624548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353098178106073</c:v>
                </c:pt>
                <c:pt idx="4">
                  <c:v>0.0006424642571946711</c:v>
                </c:pt>
                <c:pt idx="5">
                  <c:v>0.007151443288482456</c:v>
                </c:pt>
                <c:pt idx="6">
                  <c:v>0.000825786977259813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611565051667038</c:v>
                </c:pt>
                <c:pt idx="1">
                  <c:v>0.028727823632849547</c:v>
                </c:pt>
                <c:pt idx="2">
                  <c:v>0.020393618002738395</c:v>
                </c:pt>
                <c:pt idx="3">
                  <c:v>0.0615450583958569</c:v>
                </c:pt>
                <c:pt idx="4">
                  <c:v>0.04942763227337583</c:v>
                </c:pt>
                <c:pt idx="5">
                  <c:v>0.015573466733939306</c:v>
                </c:pt>
                <c:pt idx="6">
                  <c:v>0.20595087998325035</c:v>
                </c:pt>
                <c:pt idx="7">
                  <c:v>0.0673158250181851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7969429786235349</c:v>
                </c:pt>
                <c:pt idx="7">
                  <c:v>0.01422022307800877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05724463005154</c:v>
                </c:pt>
                <c:pt idx="3">
                  <c:v>0.023530138735611737</c:v>
                </c:pt>
                <c:pt idx="4">
                  <c:v>0.009403634694543746</c:v>
                </c:pt>
                <c:pt idx="5">
                  <c:v>0.0038312246397154163</c:v>
                </c:pt>
                <c:pt idx="6">
                  <c:v>0.0427150903296133</c:v>
                </c:pt>
                <c:pt idx="7">
                  <c:v>0.00340840039602077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5894250048941868</c:v>
                </c:pt>
                <c:pt idx="6">
                  <c:v>0.00764925949669734</c:v>
                </c:pt>
                <c:pt idx="7">
                  <c:v>0.001951615564461122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865825258026234</c:v>
                </c:pt>
                <c:pt idx="2">
                  <c:v>0.014929459319634195</c:v>
                </c:pt>
                <c:pt idx="3">
                  <c:v>0.07302226124494846</c:v>
                </c:pt>
                <c:pt idx="4">
                  <c:v>0.03963887233615541</c:v>
                </c:pt>
                <c:pt idx="5">
                  <c:v>0.01909419925917334</c:v>
                </c:pt>
                <c:pt idx="6">
                  <c:v>0.014280799101590988</c:v>
                </c:pt>
                <c:pt idx="7">
                  <c:v>0.00710384812872705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2649315722433907</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2639797677416814</c:v>
                </c:pt>
                <c:pt idx="2">
                  <c:v>0.005114394105184465</c:v>
                </c:pt>
                <c:pt idx="3">
                  <c:v>0.010556655190431979</c:v>
                </c:pt>
                <c:pt idx="4">
                  <c:v>0.008694022988901186</c:v>
                </c:pt>
                <c:pt idx="5">
                  <c:v>0.0051234513700321805</c:v>
                </c:pt>
                <c:pt idx="7">
                  <c:v>0.000543619063665613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86776331799873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0082622761110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3762432471140455</c:v>
                </c:pt>
                <c:pt idx="3">
                  <c:v>0.0016938533483580945</c:v>
                </c:pt>
                <c:pt idx="4">
                  <c:v>0.00294542671221918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590679188805721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165209731029913</c:v>
                </c:pt>
                <c:pt idx="1">
                  <c:v>0.10259212167398468</c:v>
                </c:pt>
                <c:pt idx="2">
                  <c:v>0.044696005610716065</c:v>
                </c:pt>
                <c:pt idx="3">
                  <c:v>0.1803136678177994</c:v>
                </c:pt>
                <c:pt idx="4">
                  <c:v>0.12735227071905772</c:v>
                </c:pt>
                <c:pt idx="5">
                  <c:v>0.05346036536462908</c:v>
                </c:pt>
                <c:pt idx="6">
                  <c:v>0.3707715893465016</c:v>
                </c:pt>
                <c:pt idx="7">
                  <c:v>0.108648769736281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4246296978898032</c:v>
                </c:pt>
                <c:pt idx="5">
                  <c:v>0.009735973252941928</c:v>
                </c:pt>
                <c:pt idx="6">
                  <c:v>0.00109091392393683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352576587490414</c:v>
                </c:pt>
                <c:pt idx="1">
                  <c:v>0.014016363089530186</c:v>
                </c:pt>
                <c:pt idx="2">
                  <c:v>0.009361326855851042</c:v>
                </c:pt>
                <c:pt idx="3">
                  <c:v>0.042963320054288226</c:v>
                </c:pt>
                <c:pt idx="4">
                  <c:v>0.03035401401086985</c:v>
                </c:pt>
                <c:pt idx="5">
                  <c:v>0.011043949692322705</c:v>
                </c:pt>
                <c:pt idx="6">
                  <c:v>0.2663830079921445</c:v>
                </c:pt>
                <c:pt idx="7">
                  <c:v>0.0674226892449390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182603192722815</c:v>
                </c:pt>
                <c:pt idx="1">
                  <c:v>0.09206397015082488</c:v>
                </c:pt>
                <c:pt idx="2">
                  <c:v>0.03875317524807164</c:v>
                </c:pt>
                <c:pt idx="3">
                  <c:v>0.17530253037154014</c:v>
                </c:pt>
                <c:pt idx="4">
                  <c:v>0.12427202378913438</c:v>
                </c:pt>
                <c:pt idx="5">
                  <c:v>0.05312455760596804</c:v>
                </c:pt>
                <c:pt idx="6">
                  <c:v>0.36037368364421235</c:v>
                </c:pt>
                <c:pt idx="7">
                  <c:v>0.10676810039806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2244857143547376</c:v>
                </c:pt>
                <c:pt idx="7">
                  <c:v>0.01852434883700580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1984860685089886</c:v>
                </c:pt>
                <c:pt idx="3">
                  <c:v>0.01086008205095598</c:v>
                </c:pt>
                <c:pt idx="4">
                  <c:v>0.004318176584964284</c:v>
                </c:pt>
                <c:pt idx="5">
                  <c:v>0.005998915008858786</c:v>
                </c:pt>
                <c:pt idx="6">
                  <c:v>0.06789403406682377</c:v>
                </c:pt>
                <c:pt idx="7">
                  <c:v>0.005350325857023969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2309523024157426</c:v>
                </c:pt>
                <c:pt idx="6">
                  <c:v>0.013089433899956496</c:v>
                </c:pt>
                <c:pt idx="7">
                  <c:v>0.003362344100390170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4240790304453787</c:v>
                </c:pt>
                <c:pt idx="2">
                  <c:v>0.010858566641147626</c:v>
                </c:pt>
                <c:pt idx="3">
                  <c:v>0.032525433386112454</c:v>
                </c:pt>
                <c:pt idx="4">
                  <c:v>0.03249132177078148</c:v>
                </c:pt>
                <c:pt idx="5">
                  <c:v>0.011831319440183055</c:v>
                </c:pt>
                <c:pt idx="6">
                  <c:v>0.017679504505542065</c:v>
                </c:pt>
                <c:pt idx="7">
                  <c:v>0.003238158332626702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6571589283753885</c:v>
                </c:pt>
                <c:pt idx="2">
                  <c:v>0.030726877835645646</c:v>
                </c:pt>
                <c:pt idx="3">
                  <c:v>0.013032383738995429</c:v>
                </c:pt>
                <c:pt idx="4">
                  <c:v>0.016872658876419356</c:v>
                </c:pt>
                <c:pt idx="5">
                  <c:v>0.007292899091361302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531322091813889</c:v>
                </c:pt>
                <c:pt idx="3">
                  <c:v>0.009540411875393938</c:v>
                </c:pt>
                <c:pt idx="4">
                  <c:v>0.002779116005397273</c:v>
                </c:pt>
                <c:pt idx="5">
                  <c:v>0.004260092281942123</c:v>
                </c:pt>
                <c:pt idx="7">
                  <c:v>0.000855399348163143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07915796466367601</c:v>
                </c:pt>
                <c:pt idx="7">
                  <c:v>0.001560517514006283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020824840383864</c:v>
                </c:pt>
                <c:pt idx="3">
                  <c:v>0.00264936877012217</c:v>
                </c:pt>
                <c:pt idx="4">
                  <c:v>0.002343928650132002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2350392781057382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52582573016724</c:v>
                </c:pt>
                <c:pt idx="2">
                  <c:v>0.04789274601489564</c:v>
                </c:pt>
                <c:pt idx="3">
                  <c:v>0.04021679137248125</c:v>
                </c:pt>
                <c:pt idx="4">
                  <c:v>0.24944023448036315</c:v>
                </c:pt>
                <c:pt idx="5">
                  <c:v>0.11643989992771371</c:v>
                </c:pt>
                <c:pt idx="6">
                  <c:v>0.1627808568707171</c:v>
                </c:pt>
                <c:pt idx="7">
                  <c:v>0.00856833047554897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40771169362354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67691168430033</c:v>
                </c:pt>
                <c:pt idx="3">
                  <c:v>0.000989335673239924</c:v>
                </c:pt>
                <c:pt idx="4">
                  <c:v>0.046282176756650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9225664041491749</c:v>
                </c:pt>
                <c:pt idx="2">
                  <c:v>0.001900036170611335</c:v>
                </c:pt>
                <c:pt idx="3">
                  <c:v>0.056523466674891186</c:v>
                </c:pt>
                <c:pt idx="4">
                  <c:v>0.1268658098571626</c:v>
                </c:pt>
                <c:pt idx="5">
                  <c:v>0.01487354529829532</c:v>
                </c:pt>
                <c:pt idx="6">
                  <c:v>0.00084807487826654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151322565964671</c:v>
                </c:pt>
                <c:pt idx="4">
                  <c:v>0.007732419721294021</c:v>
                </c:pt>
                <c:pt idx="5">
                  <c:v>0.00436331052206929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5671138277131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9115332297577794</c:v>
                </c:pt>
                <c:pt idx="4">
                  <c:v>0.0142411285670214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18483362892154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447352735852206</c:v>
                </c:pt>
                <c:pt idx="4">
                  <c:v>0.0014380403420953221</c:v>
                </c:pt>
                <c:pt idx="5">
                  <c:v>0.00389540007570445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153732072383319</c:v>
                </c:pt>
                <c:pt idx="1">
                  <c:v>0.04731533599386516</c:v>
                </c:pt>
                <c:pt idx="2">
                  <c:v>0.03431615608747432</c:v>
                </c:pt>
                <c:pt idx="3">
                  <c:v>0.08509149036707536</c:v>
                </c:pt>
                <c:pt idx="4">
                  <c:v>0.07365207602784166</c:v>
                </c:pt>
                <c:pt idx="5">
                  <c:v>0.021024154316017365</c:v>
                </c:pt>
                <c:pt idx="6">
                  <c:v>0.12962353680066446</c:v>
                </c:pt>
                <c:pt idx="7">
                  <c:v>0.067292760337130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2574059959239454</c:v>
                </c:pt>
                <c:pt idx="7">
                  <c:v>0.008793296329870049</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48628470823932</c:v>
                </c:pt>
                <c:pt idx="3">
                  <c:v>0.03962993798759843</c:v>
                </c:pt>
                <c:pt idx="4">
                  <c:v>0.015840049271023254</c:v>
                </c:pt>
                <c:pt idx="5">
                  <c:v>0.001095252013176561</c:v>
                </c:pt>
                <c:pt idx="6">
                  <c:v>0.010930923141873456</c:v>
                </c:pt>
                <c:pt idx="7">
                  <c:v>0.000957321744482012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7807522364339838</c:v>
                </c:pt>
                <c:pt idx="6">
                  <c:v>0.000778241227382684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6780303820230735</c:v>
                </c:pt>
                <c:pt idx="2">
                  <c:v>0.02010956718329598</c:v>
                </c:pt>
                <c:pt idx="3">
                  <c:v>0.12423725080710733</c:v>
                </c:pt>
                <c:pt idx="4">
                  <c:v>0.04806500331330595</c:v>
                </c:pt>
                <c:pt idx="5">
                  <c:v>0.028324745508974066</c:v>
                </c:pt>
                <c:pt idx="6">
                  <c:v>0.010010588737163078</c:v>
                </c:pt>
                <c:pt idx="7">
                  <c:v>0.01201566262430411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709687698953317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9283985951552341</c:v>
                </c:pt>
                <c:pt idx="2">
                  <c:v>0.011227394396881347</c:v>
                </c:pt>
                <c:pt idx="3">
                  <c:v>0.011868155597076139</c:v>
                </c:pt>
                <c:pt idx="4">
                  <c:v>0.01620336191986629</c:v>
                </c:pt>
                <c:pt idx="5">
                  <c:v>0.00622869332841718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6729890004935164</c:v>
                </c:pt>
                <c:pt idx="1">
                  <c:v>0.1307210880876973</c:v>
                </c:pt>
                <c:pt idx="2">
                  <c:v>0.07109906005240599</c:v>
                </c:pt>
                <c:pt idx="3">
                  <c:v>0.2764396051594939</c:v>
                </c:pt>
                <c:pt idx="4">
                  <c:v>0.16442298151294685</c:v>
                </c:pt>
                <c:pt idx="5">
                  <c:v>0.06296086511471766</c:v>
                </c:pt>
                <c:pt idx="6">
                  <c:v>0.18383903075172306</c:v>
                </c:pt>
                <c:pt idx="7">
                  <c:v>0.103787479316080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182347871038359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596608996966117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0399767304237542</c:v>
                </c:pt>
                <c:pt idx="4">
                  <c:v>0.003714081128195697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3237843346225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3093229211411418</c:v>
                </c:pt>
                <c:pt idx="1">
                  <c:v>0.10788394773254027</c:v>
                </c:pt>
                <c:pt idx="2">
                  <c:v>0.04693510634994417</c:v>
                </c:pt>
                <c:pt idx="3">
                  <c:v>0.18721915904999423</c:v>
                </c:pt>
                <c:pt idx="4">
                  <c:v>0.11397427204804374</c:v>
                </c:pt>
                <c:pt idx="5">
                  <c:v>0.05217955609508233</c:v>
                </c:pt>
                <c:pt idx="6">
                  <c:v>0.36270526334207537</c:v>
                </c:pt>
                <c:pt idx="7">
                  <c:v>0.1160094661709084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987808298781083</c:v>
                </c:pt>
                <c:pt idx="1">
                  <c:v>0.09671313639448578</c:v>
                </c:pt>
                <c:pt idx="2">
                  <c:v>0.04045589464231229</c:v>
                </c:pt>
                <c:pt idx="3">
                  <c:v>0.18229049009820741</c:v>
                </c:pt>
                <c:pt idx="4">
                  <c:v>0.11075205326239003</c:v>
                </c:pt>
                <c:pt idx="5">
                  <c:v>0.051811670014563986</c:v>
                </c:pt>
                <c:pt idx="6">
                  <c:v>0.35156405573264077</c:v>
                </c:pt>
                <c:pt idx="7">
                  <c:v>0.113959595159613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7265694119279864</c:v>
                </c:pt>
                <c:pt idx="2">
                  <c:v>0.031973801781507785</c:v>
                </c:pt>
                <c:pt idx="3">
                  <c:v>0.013975922051485914</c:v>
                </c:pt>
                <c:pt idx="4">
                  <c:v>0.01736604995473548</c:v>
                </c:pt>
                <c:pt idx="5">
                  <c:v>0.0079048686948506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637340142787428</c:v>
                </c:pt>
                <c:pt idx="1">
                  <c:v>0.08178379124933727</c:v>
                </c:pt>
                <c:pt idx="2">
                  <c:v>0.020481447272063334</c:v>
                </c:pt>
                <c:pt idx="3">
                  <c:v>0.11501586541818654</c:v>
                </c:pt>
                <c:pt idx="4">
                  <c:v>0.07230199940364156</c:v>
                </c:pt>
                <c:pt idx="5">
                  <c:v>0.043289684745348084</c:v>
                </c:pt>
                <c:pt idx="6">
                  <c:v>0.4893803967651918</c:v>
                </c:pt>
                <c:pt idx="7">
                  <c:v>0.123817711044728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154534041090638</c:v>
                </c:pt>
                <c:pt idx="2">
                  <c:v>0.013751873628375148</c:v>
                </c:pt>
                <c:pt idx="3">
                  <c:v>0.009002758505182775</c:v>
                </c:pt>
                <c:pt idx="4">
                  <c:v>0.008385321258970796</c:v>
                </c:pt>
                <c:pt idx="5">
                  <c:v>0.00579676635532077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252060661466229</c:v>
                </c:pt>
                <c:pt idx="2">
                  <c:v>0.04993714287014782</c:v>
                </c:pt>
                <c:pt idx="3">
                  <c:v>0.11115435261001685</c:v>
                </c:pt>
                <c:pt idx="4">
                  <c:v>0.44456176938249176</c:v>
                </c:pt>
                <c:pt idx="5">
                  <c:v>0.13567675574807833</c:v>
                </c:pt>
                <c:pt idx="6">
                  <c:v>0.1750366434426072</c:v>
                </c:pt>
                <c:pt idx="7">
                  <c:v>0.01464956846004308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4704937982979487</c:v>
                </c:pt>
                <c:pt idx="3">
                  <c:v>0.015563015695094539</c:v>
                </c:pt>
                <c:pt idx="4">
                  <c:v>0.008415376425880578</c:v>
                </c:pt>
                <c:pt idx="5">
                  <c:v>0.011475085245003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1/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8.xml"/><Relationship Id="rId7" Type="http://schemas.openxmlformats.org/officeDocument/2006/relationships/chart" Target="../charts/chart299.xml"/><Relationship Id="rId8" Type="http://schemas.openxmlformats.org/officeDocument/2006/relationships/chart" Target="../charts/chart300.xml"/><Relationship Id="rId9" Type="http://schemas.openxmlformats.org/officeDocument/2006/relationships/chart" Target="../charts/chart301.xml"/><Relationship Id="rId10" Type="http://schemas.openxmlformats.org/officeDocument/2006/relationships/chart" Target="../charts/chart302.xml"/><Relationship Id="rId11" Type="http://schemas.openxmlformats.org/officeDocument/2006/relationships/chart" Target="../charts/chart303.xml"/><Relationship Id="rId12" Type="http://schemas.openxmlformats.org/officeDocument/2006/relationships/chart" Target="../charts/chart304.xml"/><Relationship Id="rId13" Type="http://schemas.openxmlformats.org/officeDocument/2006/relationships/chart" Target="../charts/chart305.xml"/><Relationship Id="rId14" Type="http://schemas.openxmlformats.org/officeDocument/2006/relationships/chart" Target="../charts/chart306.xml"/><Relationship Id="rId15" Type="http://schemas.openxmlformats.org/officeDocument/2006/relationships/chart" Target="../charts/chart307.xml"/><Relationship Id="rId16" Type="http://schemas.openxmlformats.org/officeDocument/2006/relationships/chart" Target="../charts/chart30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xml"/><Relationship Id="rId7" Type="http://schemas.openxmlformats.org/officeDocument/2006/relationships/chart" Target="../charts/chart310.xml"/><Relationship Id="rId8" Type="http://schemas.openxmlformats.org/officeDocument/2006/relationships/chart" Target="../charts/chart311.xml"/><Relationship Id="rId9" Type="http://schemas.openxmlformats.org/officeDocument/2006/relationships/chart" Target="../charts/chart312.xml"/><Relationship Id="rId10" Type="http://schemas.openxmlformats.org/officeDocument/2006/relationships/chart" Target="../charts/chart313.xml"/><Relationship Id="rId11" Type="http://schemas.openxmlformats.org/officeDocument/2006/relationships/chart" Target="../charts/chart314.xml"/><Relationship Id="rId12" Type="http://schemas.openxmlformats.org/officeDocument/2006/relationships/chart" Target="../charts/chart315.xml"/><Relationship Id="rId13" Type="http://schemas.openxmlformats.org/officeDocument/2006/relationships/chart" Target="../charts/chart316.xml"/><Relationship Id="rId14" Type="http://schemas.openxmlformats.org/officeDocument/2006/relationships/chart" Target="../charts/chart317.xml"/><Relationship Id="rId15" Type="http://schemas.openxmlformats.org/officeDocument/2006/relationships/chart" Target="../charts/chart318.xml"/><Relationship Id="rId16" Type="http://schemas.openxmlformats.org/officeDocument/2006/relationships/chart" Target="../charts/chart31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0.xml"/><Relationship Id="rId7" Type="http://schemas.openxmlformats.org/officeDocument/2006/relationships/chart" Target="../charts/chart321.xml"/><Relationship Id="rId8" Type="http://schemas.openxmlformats.org/officeDocument/2006/relationships/chart" Target="../charts/chart322.xml"/><Relationship Id="rId9" Type="http://schemas.openxmlformats.org/officeDocument/2006/relationships/chart" Target="../charts/chart323.xml"/><Relationship Id="rId10" Type="http://schemas.openxmlformats.org/officeDocument/2006/relationships/chart" Target="../charts/chart324.xml"/><Relationship Id="rId11" Type="http://schemas.openxmlformats.org/officeDocument/2006/relationships/chart" Target="../charts/chart325.xml"/><Relationship Id="rId12" Type="http://schemas.openxmlformats.org/officeDocument/2006/relationships/chart" Target="../charts/chart326.xml"/><Relationship Id="rId13" Type="http://schemas.openxmlformats.org/officeDocument/2006/relationships/chart" Target="../charts/chart327.xml"/><Relationship Id="rId14" Type="http://schemas.openxmlformats.org/officeDocument/2006/relationships/chart" Target="../charts/chart328.xml"/><Relationship Id="rId15" Type="http://schemas.openxmlformats.org/officeDocument/2006/relationships/chart" Target="../charts/chart329.xml"/><Relationship Id="rId16" Type="http://schemas.openxmlformats.org/officeDocument/2006/relationships/chart" Target="../charts/chart3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 Id="rId7" Type="http://schemas.openxmlformats.org/officeDocument/2006/relationships/chart" Target="../charts/chart332.xml"/><Relationship Id="rId8" Type="http://schemas.openxmlformats.org/officeDocument/2006/relationships/chart" Target="../charts/chart333.xml"/><Relationship Id="rId9" Type="http://schemas.openxmlformats.org/officeDocument/2006/relationships/chart" Target="../charts/chart334.xml"/><Relationship Id="rId10" Type="http://schemas.openxmlformats.org/officeDocument/2006/relationships/chart" Target="../charts/chart335.xml"/><Relationship Id="rId11" Type="http://schemas.openxmlformats.org/officeDocument/2006/relationships/chart" Target="../charts/chart336.xml"/><Relationship Id="rId12" Type="http://schemas.openxmlformats.org/officeDocument/2006/relationships/chart" Target="../charts/chart337.xml"/><Relationship Id="rId13" Type="http://schemas.openxmlformats.org/officeDocument/2006/relationships/chart" Target="../charts/chart338.xml"/><Relationship Id="rId14" Type="http://schemas.openxmlformats.org/officeDocument/2006/relationships/chart" Target="../charts/chart339.xml"/><Relationship Id="rId15" Type="http://schemas.openxmlformats.org/officeDocument/2006/relationships/chart" Target="../charts/chart340.xml"/><Relationship Id="rId16" Type="http://schemas.openxmlformats.org/officeDocument/2006/relationships/chart" Target="../charts/chart34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2.xml"/><Relationship Id="rId7" Type="http://schemas.openxmlformats.org/officeDocument/2006/relationships/chart" Target="../charts/chart343.xml"/><Relationship Id="rId8" Type="http://schemas.openxmlformats.org/officeDocument/2006/relationships/chart" Target="../charts/chart344.xml"/><Relationship Id="rId9" Type="http://schemas.openxmlformats.org/officeDocument/2006/relationships/chart" Target="../charts/chart345.xml"/><Relationship Id="rId10" Type="http://schemas.openxmlformats.org/officeDocument/2006/relationships/chart" Target="../charts/chart346.xml"/><Relationship Id="rId11" Type="http://schemas.openxmlformats.org/officeDocument/2006/relationships/chart" Target="../charts/chart347.xml"/><Relationship Id="rId12" Type="http://schemas.openxmlformats.org/officeDocument/2006/relationships/chart" Target="../charts/chart348.xml"/><Relationship Id="rId13" Type="http://schemas.openxmlformats.org/officeDocument/2006/relationships/chart" Target="../charts/chart349.xml"/><Relationship Id="rId14" Type="http://schemas.openxmlformats.org/officeDocument/2006/relationships/chart" Target="../charts/chart350.xml"/><Relationship Id="rId15" Type="http://schemas.openxmlformats.org/officeDocument/2006/relationships/chart" Target="../charts/chart351.xml"/><Relationship Id="rId16" Type="http://schemas.openxmlformats.org/officeDocument/2006/relationships/chart" Target="../charts/chart35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 Id="rId7" Type="http://schemas.openxmlformats.org/officeDocument/2006/relationships/chart" Target="../charts/chart354.xml"/><Relationship Id="rId8" Type="http://schemas.openxmlformats.org/officeDocument/2006/relationships/chart" Target="../charts/chart355.xml"/><Relationship Id="rId9" Type="http://schemas.openxmlformats.org/officeDocument/2006/relationships/chart" Target="../charts/chart356.xml"/><Relationship Id="rId10" Type="http://schemas.openxmlformats.org/officeDocument/2006/relationships/chart" Target="../charts/chart357.xml"/><Relationship Id="rId11" Type="http://schemas.openxmlformats.org/officeDocument/2006/relationships/chart" Target="../charts/chart358.xml"/><Relationship Id="rId12" Type="http://schemas.openxmlformats.org/officeDocument/2006/relationships/chart" Target="../charts/chart359.xml"/><Relationship Id="rId13" Type="http://schemas.openxmlformats.org/officeDocument/2006/relationships/chart" Target="../charts/chart360.xml"/><Relationship Id="rId14" Type="http://schemas.openxmlformats.org/officeDocument/2006/relationships/chart" Target="../charts/chart361.xml"/><Relationship Id="rId15" Type="http://schemas.openxmlformats.org/officeDocument/2006/relationships/chart" Target="../charts/chart362.xml"/><Relationship Id="rId16" Type="http://schemas.openxmlformats.org/officeDocument/2006/relationships/chart" Target="../charts/chart36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4.xml"/><Relationship Id="rId7" Type="http://schemas.openxmlformats.org/officeDocument/2006/relationships/chart" Target="../charts/chart365.xml"/><Relationship Id="rId8" Type="http://schemas.openxmlformats.org/officeDocument/2006/relationships/chart" Target="../charts/chart366.xml"/><Relationship Id="rId9" Type="http://schemas.openxmlformats.org/officeDocument/2006/relationships/chart" Target="../charts/chart367.xml"/><Relationship Id="rId10" Type="http://schemas.openxmlformats.org/officeDocument/2006/relationships/chart" Target="../charts/chart368.xml"/><Relationship Id="rId11" Type="http://schemas.openxmlformats.org/officeDocument/2006/relationships/chart" Target="../charts/chart369.xml"/><Relationship Id="rId12" Type="http://schemas.openxmlformats.org/officeDocument/2006/relationships/chart" Target="../charts/chart370.xml"/><Relationship Id="rId13" Type="http://schemas.openxmlformats.org/officeDocument/2006/relationships/chart" Target="../charts/chart371.xml"/><Relationship Id="rId14" Type="http://schemas.openxmlformats.org/officeDocument/2006/relationships/chart" Target="../charts/chart372.xml"/><Relationship Id="rId15" Type="http://schemas.openxmlformats.org/officeDocument/2006/relationships/chart" Target="../charts/chart373.xml"/><Relationship Id="rId16" Type="http://schemas.openxmlformats.org/officeDocument/2006/relationships/chart" Target="../charts/chart37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5.xml"/><Relationship Id="rId7" Type="http://schemas.openxmlformats.org/officeDocument/2006/relationships/chart" Target="../charts/chart376.xml"/><Relationship Id="rId8" Type="http://schemas.openxmlformats.org/officeDocument/2006/relationships/chart" Target="../charts/chart377.xml"/><Relationship Id="rId9" Type="http://schemas.openxmlformats.org/officeDocument/2006/relationships/chart" Target="../charts/chart378.xml"/><Relationship Id="rId10" Type="http://schemas.openxmlformats.org/officeDocument/2006/relationships/chart" Target="../charts/chart379.xml"/><Relationship Id="rId11" Type="http://schemas.openxmlformats.org/officeDocument/2006/relationships/chart" Target="../charts/chart380.xml"/><Relationship Id="rId12" Type="http://schemas.openxmlformats.org/officeDocument/2006/relationships/chart" Target="../charts/chart381.xml"/><Relationship Id="rId13" Type="http://schemas.openxmlformats.org/officeDocument/2006/relationships/chart" Target="../charts/chart382.xml"/><Relationship Id="rId14" Type="http://schemas.openxmlformats.org/officeDocument/2006/relationships/chart" Target="../charts/chart383.xml"/><Relationship Id="rId15" Type="http://schemas.openxmlformats.org/officeDocument/2006/relationships/chart" Target="../charts/chart384.xml"/><Relationship Id="rId16" Type="http://schemas.openxmlformats.org/officeDocument/2006/relationships/chart" Target="../charts/chart38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6.xml"/><Relationship Id="rId7" Type="http://schemas.openxmlformats.org/officeDocument/2006/relationships/chart" Target="../charts/chart387.xml"/><Relationship Id="rId8" Type="http://schemas.openxmlformats.org/officeDocument/2006/relationships/chart" Target="../charts/chart388.xml"/><Relationship Id="rId9" Type="http://schemas.openxmlformats.org/officeDocument/2006/relationships/chart" Target="../charts/chart389.xml"/><Relationship Id="rId10" Type="http://schemas.openxmlformats.org/officeDocument/2006/relationships/chart" Target="../charts/chart390.xml"/><Relationship Id="rId11" Type="http://schemas.openxmlformats.org/officeDocument/2006/relationships/chart" Target="../charts/chart391.xml"/><Relationship Id="rId12" Type="http://schemas.openxmlformats.org/officeDocument/2006/relationships/chart" Target="../charts/chart392.xml"/><Relationship Id="rId13" Type="http://schemas.openxmlformats.org/officeDocument/2006/relationships/chart" Target="../charts/chart393.xml"/><Relationship Id="rId14" Type="http://schemas.openxmlformats.org/officeDocument/2006/relationships/chart" Target="../charts/chart394.xml"/><Relationship Id="rId15" Type="http://schemas.openxmlformats.org/officeDocument/2006/relationships/chart" Target="../charts/chart395.xml"/><Relationship Id="rId16" Type="http://schemas.openxmlformats.org/officeDocument/2006/relationships/chart" Target="../charts/chart39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8.xml"/><Relationship Id="rId7" Type="http://schemas.openxmlformats.org/officeDocument/2006/relationships/chart" Target="../charts/chart409.xml"/><Relationship Id="rId8" Type="http://schemas.openxmlformats.org/officeDocument/2006/relationships/chart" Target="../charts/chart410.xml"/><Relationship Id="rId9" Type="http://schemas.openxmlformats.org/officeDocument/2006/relationships/chart" Target="../charts/chart411.xml"/><Relationship Id="rId10" Type="http://schemas.openxmlformats.org/officeDocument/2006/relationships/chart" Target="../charts/chart412.xml"/><Relationship Id="rId11" Type="http://schemas.openxmlformats.org/officeDocument/2006/relationships/chart" Target="../charts/chart413.xml"/><Relationship Id="rId12" Type="http://schemas.openxmlformats.org/officeDocument/2006/relationships/chart" Target="../charts/chart414.xml"/><Relationship Id="rId13" Type="http://schemas.openxmlformats.org/officeDocument/2006/relationships/chart" Target="../charts/chart415.xml"/><Relationship Id="rId14" Type="http://schemas.openxmlformats.org/officeDocument/2006/relationships/chart" Target="../charts/chart416.xml"/><Relationship Id="rId15" Type="http://schemas.openxmlformats.org/officeDocument/2006/relationships/chart" Target="../charts/chart417.xml"/><Relationship Id="rId16" Type="http://schemas.openxmlformats.org/officeDocument/2006/relationships/chart" Target="../charts/chart41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9.xml"/><Relationship Id="rId7" Type="http://schemas.openxmlformats.org/officeDocument/2006/relationships/chart" Target="../charts/chart420.xml"/><Relationship Id="rId8" Type="http://schemas.openxmlformats.org/officeDocument/2006/relationships/chart" Target="../charts/chart421.xml"/><Relationship Id="rId9" Type="http://schemas.openxmlformats.org/officeDocument/2006/relationships/chart" Target="../charts/chart422.xml"/><Relationship Id="rId10" Type="http://schemas.openxmlformats.org/officeDocument/2006/relationships/chart" Target="../charts/chart423.xml"/><Relationship Id="rId11" Type="http://schemas.openxmlformats.org/officeDocument/2006/relationships/chart" Target="../charts/chart424.xml"/><Relationship Id="rId12" Type="http://schemas.openxmlformats.org/officeDocument/2006/relationships/chart" Target="../charts/chart425.xml"/><Relationship Id="rId13" Type="http://schemas.openxmlformats.org/officeDocument/2006/relationships/chart" Target="../charts/chart426.xml"/><Relationship Id="rId14" Type="http://schemas.openxmlformats.org/officeDocument/2006/relationships/chart" Target="../charts/chart427.xml"/><Relationship Id="rId15" Type="http://schemas.openxmlformats.org/officeDocument/2006/relationships/chart" Target="../charts/chart428.xml"/><Relationship Id="rId16" Type="http://schemas.openxmlformats.org/officeDocument/2006/relationships/chart" Target="../charts/chart42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0.xml"/><Relationship Id="rId7" Type="http://schemas.openxmlformats.org/officeDocument/2006/relationships/chart" Target="../charts/chart431.xml"/><Relationship Id="rId8" Type="http://schemas.openxmlformats.org/officeDocument/2006/relationships/chart" Target="../charts/chart432.xml"/><Relationship Id="rId9" Type="http://schemas.openxmlformats.org/officeDocument/2006/relationships/chart" Target="../charts/chart433.xml"/><Relationship Id="rId10" Type="http://schemas.openxmlformats.org/officeDocument/2006/relationships/chart" Target="../charts/chart434.xml"/><Relationship Id="rId11" Type="http://schemas.openxmlformats.org/officeDocument/2006/relationships/chart" Target="../charts/chart435.xml"/><Relationship Id="rId12" Type="http://schemas.openxmlformats.org/officeDocument/2006/relationships/chart" Target="../charts/chart436.xml"/><Relationship Id="rId13" Type="http://schemas.openxmlformats.org/officeDocument/2006/relationships/chart" Target="../charts/chart437.xml"/><Relationship Id="rId14" Type="http://schemas.openxmlformats.org/officeDocument/2006/relationships/chart" Target="../charts/chart438.xml"/><Relationship Id="rId15" Type="http://schemas.openxmlformats.org/officeDocument/2006/relationships/chart" Target="../charts/chart439.xml"/><Relationship Id="rId16" Type="http://schemas.openxmlformats.org/officeDocument/2006/relationships/chart" Target="../charts/chart4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1.xml"/><Relationship Id="rId7" Type="http://schemas.openxmlformats.org/officeDocument/2006/relationships/chart" Target="../charts/chart442.xml"/><Relationship Id="rId8" Type="http://schemas.openxmlformats.org/officeDocument/2006/relationships/chart" Target="../charts/chart443.xml"/><Relationship Id="rId9" Type="http://schemas.openxmlformats.org/officeDocument/2006/relationships/chart" Target="../charts/chart444.xml"/><Relationship Id="rId10" Type="http://schemas.openxmlformats.org/officeDocument/2006/relationships/chart" Target="../charts/chart445.xml"/><Relationship Id="rId11" Type="http://schemas.openxmlformats.org/officeDocument/2006/relationships/chart" Target="../charts/chart446.xml"/><Relationship Id="rId12" Type="http://schemas.openxmlformats.org/officeDocument/2006/relationships/chart" Target="../charts/chart447.xml"/><Relationship Id="rId13" Type="http://schemas.openxmlformats.org/officeDocument/2006/relationships/chart" Target="../charts/chart448.xml"/><Relationship Id="rId14" Type="http://schemas.openxmlformats.org/officeDocument/2006/relationships/chart" Target="../charts/chart449.xml"/><Relationship Id="rId15" Type="http://schemas.openxmlformats.org/officeDocument/2006/relationships/chart" Target="../charts/chart450.xml"/><Relationship Id="rId16" Type="http://schemas.openxmlformats.org/officeDocument/2006/relationships/chart" Target="../charts/chart45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2.xml"/><Relationship Id="rId7" Type="http://schemas.openxmlformats.org/officeDocument/2006/relationships/chart" Target="../charts/chart453.xml"/><Relationship Id="rId8" Type="http://schemas.openxmlformats.org/officeDocument/2006/relationships/chart" Target="../charts/chart454.xml"/><Relationship Id="rId9" Type="http://schemas.openxmlformats.org/officeDocument/2006/relationships/chart" Target="../charts/chart455.xml"/><Relationship Id="rId10" Type="http://schemas.openxmlformats.org/officeDocument/2006/relationships/chart" Target="../charts/chart456.xml"/><Relationship Id="rId11" Type="http://schemas.openxmlformats.org/officeDocument/2006/relationships/chart" Target="../charts/chart457.xml"/><Relationship Id="rId12" Type="http://schemas.openxmlformats.org/officeDocument/2006/relationships/chart" Target="../charts/chart458.xml"/><Relationship Id="rId13" Type="http://schemas.openxmlformats.org/officeDocument/2006/relationships/chart" Target="../charts/chart459.xml"/><Relationship Id="rId14" Type="http://schemas.openxmlformats.org/officeDocument/2006/relationships/chart" Target="../charts/chart460.xml"/><Relationship Id="rId15" Type="http://schemas.openxmlformats.org/officeDocument/2006/relationships/chart" Target="../charts/chart461.xml"/><Relationship Id="rId16" Type="http://schemas.openxmlformats.org/officeDocument/2006/relationships/chart" Target="../charts/chart46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3.xml"/><Relationship Id="rId7" Type="http://schemas.openxmlformats.org/officeDocument/2006/relationships/chart" Target="../charts/chart464.xml"/><Relationship Id="rId8" Type="http://schemas.openxmlformats.org/officeDocument/2006/relationships/chart" Target="../charts/chart465.xml"/><Relationship Id="rId9" Type="http://schemas.openxmlformats.org/officeDocument/2006/relationships/chart" Target="../charts/chart466.xml"/><Relationship Id="rId10" Type="http://schemas.openxmlformats.org/officeDocument/2006/relationships/chart" Target="../charts/chart467.xml"/><Relationship Id="rId11" Type="http://schemas.openxmlformats.org/officeDocument/2006/relationships/chart" Target="../charts/chart468.xml"/><Relationship Id="rId12" Type="http://schemas.openxmlformats.org/officeDocument/2006/relationships/chart" Target="../charts/chart469.xml"/><Relationship Id="rId13" Type="http://schemas.openxmlformats.org/officeDocument/2006/relationships/chart" Target="../charts/chart470.xml"/><Relationship Id="rId14" Type="http://schemas.openxmlformats.org/officeDocument/2006/relationships/chart" Target="../charts/chart471.xml"/><Relationship Id="rId15" Type="http://schemas.openxmlformats.org/officeDocument/2006/relationships/chart" Target="../charts/chart472.xml"/><Relationship Id="rId16" Type="http://schemas.openxmlformats.org/officeDocument/2006/relationships/chart" Target="../charts/chart47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4.xml"/><Relationship Id="rId7" Type="http://schemas.openxmlformats.org/officeDocument/2006/relationships/chart" Target="../charts/chart475.xml"/><Relationship Id="rId8" Type="http://schemas.openxmlformats.org/officeDocument/2006/relationships/chart" Target="../charts/chart476.xml"/><Relationship Id="rId9" Type="http://schemas.openxmlformats.org/officeDocument/2006/relationships/chart" Target="../charts/chart477.xml"/><Relationship Id="rId10" Type="http://schemas.openxmlformats.org/officeDocument/2006/relationships/chart" Target="../charts/chart478.xml"/><Relationship Id="rId11" Type="http://schemas.openxmlformats.org/officeDocument/2006/relationships/chart" Target="../charts/chart479.xml"/><Relationship Id="rId12" Type="http://schemas.openxmlformats.org/officeDocument/2006/relationships/chart" Target="../charts/chart480.xml"/><Relationship Id="rId13" Type="http://schemas.openxmlformats.org/officeDocument/2006/relationships/chart" Target="../charts/chart481.xml"/><Relationship Id="rId14" Type="http://schemas.openxmlformats.org/officeDocument/2006/relationships/chart" Target="../charts/chart482.xml"/><Relationship Id="rId15" Type="http://schemas.openxmlformats.org/officeDocument/2006/relationships/chart" Target="../charts/chart483.xml"/><Relationship Id="rId16" Type="http://schemas.openxmlformats.org/officeDocument/2006/relationships/chart" Target="../charts/chart48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5.xml"/><Relationship Id="rId7" Type="http://schemas.openxmlformats.org/officeDocument/2006/relationships/chart" Target="../charts/chart486.xml"/><Relationship Id="rId8" Type="http://schemas.openxmlformats.org/officeDocument/2006/relationships/chart" Target="../charts/chart487.xml"/><Relationship Id="rId9" Type="http://schemas.openxmlformats.org/officeDocument/2006/relationships/chart" Target="../charts/chart488.xml"/><Relationship Id="rId10" Type="http://schemas.openxmlformats.org/officeDocument/2006/relationships/chart" Target="../charts/chart489.xml"/><Relationship Id="rId11" Type="http://schemas.openxmlformats.org/officeDocument/2006/relationships/chart" Target="../charts/chart490.xml"/><Relationship Id="rId12" Type="http://schemas.openxmlformats.org/officeDocument/2006/relationships/chart" Target="../charts/chart491.xml"/><Relationship Id="rId13" Type="http://schemas.openxmlformats.org/officeDocument/2006/relationships/chart" Target="../charts/chart492.xml"/><Relationship Id="rId14" Type="http://schemas.openxmlformats.org/officeDocument/2006/relationships/chart" Target="../charts/chart493.xml"/><Relationship Id="rId15" Type="http://schemas.openxmlformats.org/officeDocument/2006/relationships/chart" Target="../charts/chart494.xml"/><Relationship Id="rId16" Type="http://schemas.openxmlformats.org/officeDocument/2006/relationships/chart" Target="../charts/chart49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6.xml"/><Relationship Id="rId7" Type="http://schemas.openxmlformats.org/officeDocument/2006/relationships/chart" Target="../charts/chart497.xml"/><Relationship Id="rId8" Type="http://schemas.openxmlformats.org/officeDocument/2006/relationships/chart" Target="../charts/chart498.xml"/><Relationship Id="rId9" Type="http://schemas.openxmlformats.org/officeDocument/2006/relationships/chart" Target="../charts/chart499.xml"/><Relationship Id="rId10" Type="http://schemas.openxmlformats.org/officeDocument/2006/relationships/chart" Target="../charts/chart500.xml"/><Relationship Id="rId11" Type="http://schemas.openxmlformats.org/officeDocument/2006/relationships/chart" Target="../charts/chart501.xml"/><Relationship Id="rId12" Type="http://schemas.openxmlformats.org/officeDocument/2006/relationships/chart" Target="../charts/chart502.xml"/><Relationship Id="rId13" Type="http://schemas.openxmlformats.org/officeDocument/2006/relationships/chart" Target="../charts/chart503.xml"/><Relationship Id="rId14" Type="http://schemas.openxmlformats.org/officeDocument/2006/relationships/chart" Target="../charts/chart504.xml"/><Relationship Id="rId15" Type="http://schemas.openxmlformats.org/officeDocument/2006/relationships/chart" Target="../charts/chart505.xml"/><Relationship Id="rId16" Type="http://schemas.openxmlformats.org/officeDocument/2006/relationships/chart" Target="../charts/chart50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7.xml"/><Relationship Id="rId7" Type="http://schemas.openxmlformats.org/officeDocument/2006/relationships/chart" Target="../charts/chart508.xml"/><Relationship Id="rId8" Type="http://schemas.openxmlformats.org/officeDocument/2006/relationships/chart" Target="../charts/chart509.xml"/><Relationship Id="rId9" Type="http://schemas.openxmlformats.org/officeDocument/2006/relationships/chart" Target="../charts/chart510.xml"/><Relationship Id="rId10" Type="http://schemas.openxmlformats.org/officeDocument/2006/relationships/chart" Target="../charts/chart511.xml"/><Relationship Id="rId11" Type="http://schemas.openxmlformats.org/officeDocument/2006/relationships/chart" Target="../charts/chart512.xml"/><Relationship Id="rId12" Type="http://schemas.openxmlformats.org/officeDocument/2006/relationships/chart" Target="../charts/chart513.xml"/><Relationship Id="rId13" Type="http://schemas.openxmlformats.org/officeDocument/2006/relationships/chart" Target="../charts/chart514.xml"/><Relationship Id="rId14" Type="http://schemas.openxmlformats.org/officeDocument/2006/relationships/chart" Target="../charts/chart515.xml"/><Relationship Id="rId15" Type="http://schemas.openxmlformats.org/officeDocument/2006/relationships/chart" Target="../charts/chart516.xml"/><Relationship Id="rId16" Type="http://schemas.openxmlformats.org/officeDocument/2006/relationships/chart" Target="../charts/chart51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8.xml"/><Relationship Id="rId7" Type="http://schemas.openxmlformats.org/officeDocument/2006/relationships/chart" Target="../charts/chart519.xml"/><Relationship Id="rId8" Type="http://schemas.openxmlformats.org/officeDocument/2006/relationships/chart" Target="../charts/chart520.xml"/><Relationship Id="rId9" Type="http://schemas.openxmlformats.org/officeDocument/2006/relationships/chart" Target="../charts/chart521.xml"/><Relationship Id="rId10" Type="http://schemas.openxmlformats.org/officeDocument/2006/relationships/chart" Target="../charts/chart522.xml"/><Relationship Id="rId11" Type="http://schemas.openxmlformats.org/officeDocument/2006/relationships/chart" Target="../charts/chart523.xml"/><Relationship Id="rId12" Type="http://schemas.openxmlformats.org/officeDocument/2006/relationships/chart" Target="../charts/chart524.xml"/><Relationship Id="rId13" Type="http://schemas.openxmlformats.org/officeDocument/2006/relationships/chart" Target="../charts/chart525.xml"/><Relationship Id="rId14" Type="http://schemas.openxmlformats.org/officeDocument/2006/relationships/chart" Target="../charts/chart526.xml"/><Relationship Id="rId15" Type="http://schemas.openxmlformats.org/officeDocument/2006/relationships/chart" Target="../charts/chart527.xml"/><Relationship Id="rId16" Type="http://schemas.openxmlformats.org/officeDocument/2006/relationships/chart" Target="../charts/chart52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0.xml"/><Relationship Id="rId7" Type="http://schemas.openxmlformats.org/officeDocument/2006/relationships/chart" Target="../charts/chart541.xml"/><Relationship Id="rId8" Type="http://schemas.openxmlformats.org/officeDocument/2006/relationships/chart" Target="../charts/chart542.xml"/><Relationship Id="rId9" Type="http://schemas.openxmlformats.org/officeDocument/2006/relationships/chart" Target="../charts/chart543.xml"/><Relationship Id="rId10" Type="http://schemas.openxmlformats.org/officeDocument/2006/relationships/chart" Target="../charts/chart544.xml"/><Relationship Id="rId11" Type="http://schemas.openxmlformats.org/officeDocument/2006/relationships/chart" Target="../charts/chart545.xml"/><Relationship Id="rId12" Type="http://schemas.openxmlformats.org/officeDocument/2006/relationships/chart" Target="../charts/chart546.xml"/><Relationship Id="rId13" Type="http://schemas.openxmlformats.org/officeDocument/2006/relationships/chart" Target="../charts/chart547.xml"/><Relationship Id="rId14" Type="http://schemas.openxmlformats.org/officeDocument/2006/relationships/chart" Target="../charts/chart548.xml"/><Relationship Id="rId15" Type="http://schemas.openxmlformats.org/officeDocument/2006/relationships/chart" Target="../charts/chart549.xml"/><Relationship Id="rId16" Type="http://schemas.openxmlformats.org/officeDocument/2006/relationships/chart" Target="../charts/chart5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1.xml"/><Relationship Id="rId7" Type="http://schemas.openxmlformats.org/officeDocument/2006/relationships/chart" Target="../charts/chart552.xml"/><Relationship Id="rId8" Type="http://schemas.openxmlformats.org/officeDocument/2006/relationships/chart" Target="../charts/chart553.xml"/><Relationship Id="rId9" Type="http://schemas.openxmlformats.org/officeDocument/2006/relationships/chart" Target="../charts/chart554.xml"/><Relationship Id="rId10" Type="http://schemas.openxmlformats.org/officeDocument/2006/relationships/chart" Target="../charts/chart555.xml"/><Relationship Id="rId11" Type="http://schemas.openxmlformats.org/officeDocument/2006/relationships/chart" Target="../charts/chart556.xml"/><Relationship Id="rId12" Type="http://schemas.openxmlformats.org/officeDocument/2006/relationships/chart" Target="../charts/chart557.xml"/><Relationship Id="rId13" Type="http://schemas.openxmlformats.org/officeDocument/2006/relationships/chart" Target="../charts/chart558.xml"/><Relationship Id="rId14" Type="http://schemas.openxmlformats.org/officeDocument/2006/relationships/chart" Target="../charts/chart559.xml"/><Relationship Id="rId15" Type="http://schemas.openxmlformats.org/officeDocument/2006/relationships/chart" Target="../charts/chart560.xml"/><Relationship Id="rId16" Type="http://schemas.openxmlformats.org/officeDocument/2006/relationships/chart" Target="../charts/chart56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2.xml"/><Relationship Id="rId7" Type="http://schemas.openxmlformats.org/officeDocument/2006/relationships/chart" Target="../charts/chart563.xml"/><Relationship Id="rId8" Type="http://schemas.openxmlformats.org/officeDocument/2006/relationships/chart" Target="../charts/chart564.xml"/><Relationship Id="rId9" Type="http://schemas.openxmlformats.org/officeDocument/2006/relationships/chart" Target="../charts/chart565.xml"/><Relationship Id="rId10" Type="http://schemas.openxmlformats.org/officeDocument/2006/relationships/chart" Target="../charts/chart566.xml"/><Relationship Id="rId11" Type="http://schemas.openxmlformats.org/officeDocument/2006/relationships/chart" Target="../charts/chart567.xml"/><Relationship Id="rId12" Type="http://schemas.openxmlformats.org/officeDocument/2006/relationships/chart" Target="../charts/chart568.xml"/><Relationship Id="rId13" Type="http://schemas.openxmlformats.org/officeDocument/2006/relationships/chart" Target="../charts/chart569.xml"/><Relationship Id="rId14" Type="http://schemas.openxmlformats.org/officeDocument/2006/relationships/chart" Target="../charts/chart570.xml"/><Relationship Id="rId15" Type="http://schemas.openxmlformats.org/officeDocument/2006/relationships/chart" Target="../charts/chart571.xml"/><Relationship Id="rId16" Type="http://schemas.openxmlformats.org/officeDocument/2006/relationships/chart" Target="../charts/chart57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3.xml"/><Relationship Id="rId7" Type="http://schemas.openxmlformats.org/officeDocument/2006/relationships/chart" Target="../charts/chart574.xml"/><Relationship Id="rId8" Type="http://schemas.openxmlformats.org/officeDocument/2006/relationships/chart" Target="../charts/chart575.xml"/><Relationship Id="rId9" Type="http://schemas.openxmlformats.org/officeDocument/2006/relationships/chart" Target="../charts/chart576.xml"/><Relationship Id="rId10" Type="http://schemas.openxmlformats.org/officeDocument/2006/relationships/chart" Target="../charts/chart577.xml"/><Relationship Id="rId11" Type="http://schemas.openxmlformats.org/officeDocument/2006/relationships/chart" Target="../charts/chart578.xml"/><Relationship Id="rId12" Type="http://schemas.openxmlformats.org/officeDocument/2006/relationships/chart" Target="../charts/chart579.xml"/><Relationship Id="rId13" Type="http://schemas.openxmlformats.org/officeDocument/2006/relationships/chart" Target="../charts/chart580.xml"/><Relationship Id="rId14" Type="http://schemas.openxmlformats.org/officeDocument/2006/relationships/chart" Target="../charts/chart581.xml"/><Relationship Id="rId15" Type="http://schemas.openxmlformats.org/officeDocument/2006/relationships/chart" Target="../charts/chart582.xml"/><Relationship Id="rId16" Type="http://schemas.openxmlformats.org/officeDocument/2006/relationships/chart" Target="../charts/chart58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4.xml"/><Relationship Id="rId7" Type="http://schemas.openxmlformats.org/officeDocument/2006/relationships/chart" Target="../charts/chart585.xml"/><Relationship Id="rId8" Type="http://schemas.openxmlformats.org/officeDocument/2006/relationships/chart" Target="../charts/chart586.xml"/><Relationship Id="rId9" Type="http://schemas.openxmlformats.org/officeDocument/2006/relationships/chart" Target="../charts/chart587.xml"/><Relationship Id="rId10" Type="http://schemas.openxmlformats.org/officeDocument/2006/relationships/chart" Target="../charts/chart588.xml"/><Relationship Id="rId11" Type="http://schemas.openxmlformats.org/officeDocument/2006/relationships/chart" Target="../charts/chart589.xml"/><Relationship Id="rId12" Type="http://schemas.openxmlformats.org/officeDocument/2006/relationships/chart" Target="../charts/chart590.xml"/><Relationship Id="rId13" Type="http://schemas.openxmlformats.org/officeDocument/2006/relationships/chart" Target="../charts/chart591.xml"/><Relationship Id="rId14" Type="http://schemas.openxmlformats.org/officeDocument/2006/relationships/chart" Target="../charts/chart592.xml"/><Relationship Id="rId15" Type="http://schemas.openxmlformats.org/officeDocument/2006/relationships/chart" Target="../charts/chart593.xml"/><Relationship Id="rId16" Type="http://schemas.openxmlformats.org/officeDocument/2006/relationships/chart" Target="../charts/chart59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5.xml"/><Relationship Id="rId7" Type="http://schemas.openxmlformats.org/officeDocument/2006/relationships/chart" Target="../charts/chart596.xml"/><Relationship Id="rId8" Type="http://schemas.openxmlformats.org/officeDocument/2006/relationships/chart" Target="../charts/chart597.xml"/><Relationship Id="rId9" Type="http://schemas.openxmlformats.org/officeDocument/2006/relationships/chart" Target="../charts/chart598.xml"/><Relationship Id="rId10" Type="http://schemas.openxmlformats.org/officeDocument/2006/relationships/chart" Target="../charts/chart599.xml"/><Relationship Id="rId11" Type="http://schemas.openxmlformats.org/officeDocument/2006/relationships/chart" Target="../charts/chart600.xml"/><Relationship Id="rId12" Type="http://schemas.openxmlformats.org/officeDocument/2006/relationships/chart" Target="../charts/chart601.xml"/><Relationship Id="rId13" Type="http://schemas.openxmlformats.org/officeDocument/2006/relationships/chart" Target="../charts/chart602.xml"/><Relationship Id="rId14" Type="http://schemas.openxmlformats.org/officeDocument/2006/relationships/chart" Target="../charts/chart603.xml"/><Relationship Id="rId15" Type="http://schemas.openxmlformats.org/officeDocument/2006/relationships/chart" Target="../charts/chart604.xml"/><Relationship Id="rId16" Type="http://schemas.openxmlformats.org/officeDocument/2006/relationships/chart" Target="../charts/chart60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6.xml"/><Relationship Id="rId7" Type="http://schemas.openxmlformats.org/officeDocument/2006/relationships/chart" Target="../charts/chart607.xml"/><Relationship Id="rId8" Type="http://schemas.openxmlformats.org/officeDocument/2006/relationships/chart" Target="../charts/chart608.xml"/><Relationship Id="rId9" Type="http://schemas.openxmlformats.org/officeDocument/2006/relationships/chart" Target="../charts/chart609.xml"/><Relationship Id="rId10" Type="http://schemas.openxmlformats.org/officeDocument/2006/relationships/chart" Target="../charts/chart610.xml"/><Relationship Id="rId11" Type="http://schemas.openxmlformats.org/officeDocument/2006/relationships/chart" Target="../charts/chart611.xml"/><Relationship Id="rId12" Type="http://schemas.openxmlformats.org/officeDocument/2006/relationships/chart" Target="../charts/chart612.xml"/><Relationship Id="rId13" Type="http://schemas.openxmlformats.org/officeDocument/2006/relationships/chart" Target="../charts/chart613.xml"/><Relationship Id="rId14" Type="http://schemas.openxmlformats.org/officeDocument/2006/relationships/chart" Target="../charts/chart614.xml"/><Relationship Id="rId15" Type="http://schemas.openxmlformats.org/officeDocument/2006/relationships/chart" Target="../charts/chart615.xml"/><Relationship Id="rId16" Type="http://schemas.openxmlformats.org/officeDocument/2006/relationships/chart" Target="../charts/chart61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7.xml"/><Relationship Id="rId7" Type="http://schemas.openxmlformats.org/officeDocument/2006/relationships/chart" Target="../charts/chart618.xml"/><Relationship Id="rId8" Type="http://schemas.openxmlformats.org/officeDocument/2006/relationships/chart" Target="../charts/chart619.xml"/><Relationship Id="rId9" Type="http://schemas.openxmlformats.org/officeDocument/2006/relationships/chart" Target="../charts/chart620.xml"/><Relationship Id="rId10" Type="http://schemas.openxmlformats.org/officeDocument/2006/relationships/chart" Target="../charts/chart621.xml"/><Relationship Id="rId11" Type="http://schemas.openxmlformats.org/officeDocument/2006/relationships/chart" Target="../charts/chart622.xml"/><Relationship Id="rId12" Type="http://schemas.openxmlformats.org/officeDocument/2006/relationships/chart" Target="../charts/chart623.xml"/><Relationship Id="rId13" Type="http://schemas.openxmlformats.org/officeDocument/2006/relationships/chart" Target="../charts/chart624.xml"/><Relationship Id="rId14" Type="http://schemas.openxmlformats.org/officeDocument/2006/relationships/chart" Target="../charts/chart625.xml"/><Relationship Id="rId15" Type="http://schemas.openxmlformats.org/officeDocument/2006/relationships/chart" Target="../charts/chart626.xml"/><Relationship Id="rId16" Type="http://schemas.openxmlformats.org/officeDocument/2006/relationships/chart" Target="../charts/chart62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8.xml"/><Relationship Id="rId7" Type="http://schemas.openxmlformats.org/officeDocument/2006/relationships/chart" Target="../charts/chart629.xml"/><Relationship Id="rId8" Type="http://schemas.openxmlformats.org/officeDocument/2006/relationships/chart" Target="../charts/chart630.xml"/><Relationship Id="rId9" Type="http://schemas.openxmlformats.org/officeDocument/2006/relationships/chart" Target="../charts/chart631.xml"/><Relationship Id="rId10" Type="http://schemas.openxmlformats.org/officeDocument/2006/relationships/chart" Target="../charts/chart632.xml"/><Relationship Id="rId11" Type="http://schemas.openxmlformats.org/officeDocument/2006/relationships/chart" Target="../charts/chart633.xml"/><Relationship Id="rId12" Type="http://schemas.openxmlformats.org/officeDocument/2006/relationships/chart" Target="../charts/chart634.xml"/><Relationship Id="rId13" Type="http://schemas.openxmlformats.org/officeDocument/2006/relationships/chart" Target="../charts/chart635.xml"/><Relationship Id="rId14" Type="http://schemas.openxmlformats.org/officeDocument/2006/relationships/chart" Target="../charts/chart636.xml"/><Relationship Id="rId15" Type="http://schemas.openxmlformats.org/officeDocument/2006/relationships/chart" Target="../charts/chart637.xml"/><Relationship Id="rId16" Type="http://schemas.openxmlformats.org/officeDocument/2006/relationships/chart" Target="../charts/chart63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9.xml"/><Relationship Id="rId7" Type="http://schemas.openxmlformats.org/officeDocument/2006/relationships/chart" Target="../charts/chart640.xml"/><Relationship Id="rId8" Type="http://schemas.openxmlformats.org/officeDocument/2006/relationships/chart" Target="../charts/chart641.xml"/><Relationship Id="rId9" Type="http://schemas.openxmlformats.org/officeDocument/2006/relationships/chart" Target="../charts/chart642.xml"/><Relationship Id="rId10" Type="http://schemas.openxmlformats.org/officeDocument/2006/relationships/chart" Target="../charts/chart643.xml"/><Relationship Id="rId11" Type="http://schemas.openxmlformats.org/officeDocument/2006/relationships/chart" Target="../charts/chart644.xml"/><Relationship Id="rId12" Type="http://schemas.openxmlformats.org/officeDocument/2006/relationships/chart" Target="../charts/chart645.xml"/><Relationship Id="rId13" Type="http://schemas.openxmlformats.org/officeDocument/2006/relationships/chart" Target="../charts/chart646.xml"/><Relationship Id="rId14" Type="http://schemas.openxmlformats.org/officeDocument/2006/relationships/chart" Target="../charts/chart647.xml"/><Relationship Id="rId15" Type="http://schemas.openxmlformats.org/officeDocument/2006/relationships/chart" Target="../charts/chart648.xml"/><Relationship Id="rId16" Type="http://schemas.openxmlformats.org/officeDocument/2006/relationships/chart" Target="../charts/chart64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0.xml"/><Relationship Id="rId7" Type="http://schemas.openxmlformats.org/officeDocument/2006/relationships/chart" Target="../charts/chart651.xml"/><Relationship Id="rId8" Type="http://schemas.openxmlformats.org/officeDocument/2006/relationships/chart" Target="../charts/chart652.xml"/><Relationship Id="rId9" Type="http://schemas.openxmlformats.org/officeDocument/2006/relationships/chart" Target="../charts/chart653.xml"/><Relationship Id="rId10" Type="http://schemas.openxmlformats.org/officeDocument/2006/relationships/chart" Target="../charts/chart654.xml"/><Relationship Id="rId11" Type="http://schemas.openxmlformats.org/officeDocument/2006/relationships/chart" Target="../charts/chart655.xml"/><Relationship Id="rId12" Type="http://schemas.openxmlformats.org/officeDocument/2006/relationships/chart" Target="../charts/chart656.xml"/><Relationship Id="rId13" Type="http://schemas.openxmlformats.org/officeDocument/2006/relationships/chart" Target="../charts/chart657.xml"/><Relationship Id="rId14" Type="http://schemas.openxmlformats.org/officeDocument/2006/relationships/chart" Target="../charts/chart658.xml"/><Relationship Id="rId15" Type="http://schemas.openxmlformats.org/officeDocument/2006/relationships/chart" Target="../charts/chart659.xml"/><Relationship Id="rId16" Type="http://schemas.openxmlformats.org/officeDocument/2006/relationships/chart" Target="../charts/chart660.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0724835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113103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472294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6434626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6262757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9256143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492738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918944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4715133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9848991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182396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340558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484133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1946376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0589402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1983293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9470396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2482327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9660249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7581729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8232825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961019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3922398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9477716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0960721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3286006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0013744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3888422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3210987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0158708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1187815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5989503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8784452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3980967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8230452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8438912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290831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5203473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6056411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9835431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6306209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8084268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7550352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0259542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4603900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2285062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5260911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7839323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7458806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6920659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27555037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0954518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3380962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0453067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9528979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0250215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302374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3613184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41275246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ctor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0128">
                <a:tc>
                  <a:txBody>
                    <a:bodyPr/>
                    <a:lstStyle/>
                    <a:p>
                      <a:pPr algn="ctr">
                        <a:defRPr sz="7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0128">
                <a:tc>
                  <a:txBody>
                    <a:bodyPr/>
                    <a:lstStyle/>
                    <a:p>
                      <a:pPr algn="ctr">
                        <a:defRPr sz="7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0128">
                <a:tc>
                  <a:txBody>
                    <a:bodyPr/>
                    <a:lstStyle/>
                    <a:p>
                      <a:pPr algn="ctr">
                        <a:defRPr sz="7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370128">
                <a:tc>
                  <a:txBody>
                    <a:bodyPr/>
                    <a:lstStyle/>
                    <a:p>
                      <a:pPr algn="ctr">
                        <a:defRPr sz="7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370128">
                <a:tc>
                  <a:txBody>
                    <a:bodyPr/>
                    <a:lstStyle/>
                    <a:p>
                      <a:pPr algn="ctr">
                        <a:defRPr sz="7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0128">
                <a:tc>
                  <a:txBody>
                    <a:bodyPr/>
                    <a:lstStyle/>
                    <a:p>
                      <a:pPr algn="ctr">
                        <a:defRPr sz="7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370128">
                <a:tc>
                  <a:txBody>
                    <a:bodyPr/>
                    <a:lstStyle/>
                    <a:p>
                      <a:pPr algn="ctr">
                        <a:defRPr sz="7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370128">
                <a:tc>
                  <a:txBody>
                    <a:bodyPr/>
                    <a:lstStyle/>
                    <a:p>
                      <a:pPr algn="ctr">
                        <a:defRPr sz="7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3600730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7980</Words>
  <Application>Microsoft Office PowerPoint</Application>
  <PresentationFormat>On-screen Show (16:9)</PresentationFormat>
  <Paragraphs>2340</Paragraphs>
  <Slides>60</Slides>
  <Notes>6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1"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1T07:3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